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75" r:id="rId3"/>
    <p:sldId id="279" r:id="rId4"/>
    <p:sldId id="278" r:id="rId5"/>
    <p:sldId id="359" r:id="rId6"/>
    <p:sldId id="373" r:id="rId7"/>
    <p:sldId id="277" r:id="rId8"/>
    <p:sldId id="360" r:id="rId9"/>
    <p:sldId id="280" r:id="rId10"/>
    <p:sldId id="362" r:id="rId11"/>
    <p:sldId id="361" r:id="rId12"/>
    <p:sldId id="363" r:id="rId13"/>
    <p:sldId id="369" r:id="rId14"/>
    <p:sldId id="370" r:id="rId15"/>
    <p:sldId id="371" r:id="rId16"/>
    <p:sldId id="372" r:id="rId17"/>
    <p:sldId id="368" r:id="rId18"/>
    <p:sldId id="364" r:id="rId19"/>
    <p:sldId id="365" r:id="rId20"/>
    <p:sldId id="367" r:id="rId21"/>
    <p:sldId id="271" r:id="rId22"/>
  </p:sldIdLst>
  <p:sldSz cx="12192000" cy="6858000"/>
  <p:notesSz cx="6810375" cy="99425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5FA1"/>
    <a:srgbClr val="000000"/>
    <a:srgbClr val="EDEDE5"/>
    <a:srgbClr val="AF8700"/>
    <a:srgbClr val="0B3A5A"/>
    <a:srgbClr val="D2D2BE"/>
    <a:srgbClr val="5454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Tema Uygulanmış Stil 1 - Vurgu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ema Uygulanmış Stil 1 - Vurgu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ema Uygulanmış Stil 1 - Vurgu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27102A9-8310-4765-A935-A1911B00CA55}" styleName="Açık Stil 1 - Vurgu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Açık Stil 1 - Vurgu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Açık Stil 1 - Vurgu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660B408-B3CF-4A94-85FC-2B1E0A45F4A2}" styleName="Koyu Stil 2 - Vurgu 1/Vurgu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668" autoAdjust="0"/>
    <p:restoredTop sz="83599" autoAdjust="0"/>
  </p:normalViewPr>
  <p:slideViewPr>
    <p:cSldViewPr showGuides="1">
      <p:cViewPr varScale="1">
        <p:scale>
          <a:sx n="97" d="100"/>
          <a:sy n="97" d="100"/>
        </p:scale>
        <p:origin x="61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3990" y="114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1163" cy="498852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quarter" idx="1"/>
          </p:nvPr>
        </p:nvSpPr>
        <p:spPr>
          <a:xfrm>
            <a:off x="3857637" y="1"/>
            <a:ext cx="2951163" cy="498852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04FF4961-E235-4161-9559-A15389FCFA60}" type="datetimeFigureOut">
              <a:rPr lang="tr-TR" smtClean="0"/>
              <a:t>05.02.2016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3"/>
          </p:nvPr>
        </p:nvSpPr>
        <p:spPr>
          <a:xfrm>
            <a:off x="3857637" y="9654538"/>
            <a:ext cx="2951163" cy="498851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D5381CF-B4CD-463D-BB61-78E2F94945FE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9024449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1163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7637" y="1"/>
            <a:ext cx="2951163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9D5F88E8-A384-43EF-AD47-7131EA31A48D}" type="datetimeFigureOut">
              <a:rPr lang="de-DE" smtClean="0"/>
              <a:pPr/>
              <a:t>05.0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2695"/>
            <a:ext cx="5448300" cy="4474131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3"/>
            <a:ext cx="2951163" cy="49712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26590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2517357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1274596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erkezde yaşanacak bir takım bir problemlerin (elektrik kesintisi, sunucu arızası, performans problemleri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s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) tüm istemcilerin etkin çalışmamasına sebep olması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üm işlemlerin sunucu tarafında olmasından dolayı istemci tarafında ihtiyaç duyulan kaynakların sunucu tarafında olması gerekliliğ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imari yapı ihtiyaçları doğrultusunda sunucu ve istemci alımları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erkezi yapıda herhangi bir problem olması durumunda aynı yapının başka bir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okasyonda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daha olması gerekliliğ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amamıyla farklı bir yapıya geçişte yaşanması muhtemel probleml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12387863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14244259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21461280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1804900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r>
              <a:rPr lang="tr-TR" sz="1000" dirty="0" smtClean="0"/>
              <a:t>Aynı anda çalışma</a:t>
            </a:r>
            <a:r>
              <a:rPr lang="tr-TR" sz="1000" baseline="0" dirty="0" smtClean="0"/>
              <a:t> başladığından sisteme yüklenme olmuş ve </a:t>
            </a:r>
            <a:r>
              <a:rPr lang="tr-TR" sz="1000" baseline="0" dirty="0" err="1" smtClean="0"/>
              <a:t>cpu</a:t>
            </a:r>
            <a:r>
              <a:rPr lang="tr-TR" sz="1000" baseline="0" dirty="0" smtClean="0"/>
              <a:t> %70 </a:t>
            </a:r>
            <a:r>
              <a:rPr lang="tr-TR" sz="1000" baseline="0" dirty="0" err="1" smtClean="0"/>
              <a:t>lere</a:t>
            </a:r>
            <a:r>
              <a:rPr lang="tr-TR" sz="1000" baseline="0" dirty="0" smtClean="0"/>
              <a:t> çıkmış  	diğeri %50</a:t>
            </a:r>
          </a:p>
          <a:p>
            <a:r>
              <a:rPr lang="tr-TR" sz="1000" baseline="0" dirty="0" smtClean="0"/>
              <a:t>				Memory 1,5 </a:t>
            </a:r>
            <a:r>
              <a:rPr lang="tr-TR" sz="1000" baseline="0" dirty="0" err="1" smtClean="0"/>
              <a:t>gb</a:t>
            </a:r>
            <a:r>
              <a:rPr lang="tr-TR" sz="1000" baseline="0" dirty="0" smtClean="0"/>
              <a:t> seviyelerinde diğeri 1 </a:t>
            </a:r>
            <a:r>
              <a:rPr lang="tr-TR" sz="1000" baseline="0" dirty="0" err="1" smtClean="0"/>
              <a:t>gb</a:t>
            </a:r>
            <a:endParaRPr lang="tr-TR" sz="1000" baseline="0" dirty="0" smtClean="0"/>
          </a:p>
          <a:p>
            <a:r>
              <a:rPr lang="tr-TR" sz="1000" dirty="0" smtClean="0"/>
              <a:t>				sanal</a:t>
            </a:r>
            <a:r>
              <a:rPr lang="tr-TR" sz="1000" baseline="0" dirty="0" smtClean="0"/>
              <a:t> disk okuma 1300 adet okumaya çıkmış diğeri merkeze veri girişi oluyor 120 seviyelerinde</a:t>
            </a:r>
          </a:p>
          <a:p>
            <a:r>
              <a:rPr lang="tr-TR" sz="1000" baseline="0" dirty="0" smtClean="0"/>
              <a:t>				</a:t>
            </a:r>
            <a:r>
              <a:rPr lang="tr-TR" sz="1000" baseline="0" dirty="0" err="1" smtClean="0"/>
              <a:t>cpu</a:t>
            </a:r>
            <a:r>
              <a:rPr lang="tr-TR" sz="1000" baseline="0" dirty="0" smtClean="0"/>
              <a:t>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9000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seviyelerinde diğerinde 7500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i geçmiyor</a:t>
            </a:r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1235151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r>
              <a:rPr lang="tr-TR" sz="1000" dirty="0" smtClean="0"/>
              <a:t>Aynı anda çalışma</a:t>
            </a:r>
            <a:r>
              <a:rPr lang="tr-TR" sz="1000" baseline="0" dirty="0" smtClean="0"/>
              <a:t> başladığından sisteme yüklenme olmuş ve </a:t>
            </a:r>
            <a:r>
              <a:rPr lang="tr-TR" sz="1000" baseline="0" dirty="0" err="1" smtClean="0"/>
              <a:t>cpu</a:t>
            </a:r>
            <a:r>
              <a:rPr lang="tr-TR" sz="1000" baseline="0" dirty="0" smtClean="0"/>
              <a:t> %70 </a:t>
            </a:r>
            <a:r>
              <a:rPr lang="tr-TR" sz="1000" baseline="0" dirty="0" err="1" smtClean="0"/>
              <a:t>lere</a:t>
            </a:r>
            <a:r>
              <a:rPr lang="tr-TR" sz="1000" baseline="0" dirty="0" smtClean="0"/>
              <a:t> çıkmış  	diğeri %50</a:t>
            </a:r>
          </a:p>
          <a:p>
            <a:r>
              <a:rPr lang="tr-TR" sz="1000" baseline="0" dirty="0" smtClean="0"/>
              <a:t>				Memory 1,5 </a:t>
            </a:r>
            <a:r>
              <a:rPr lang="tr-TR" sz="1000" baseline="0" dirty="0" err="1" smtClean="0"/>
              <a:t>gb</a:t>
            </a:r>
            <a:r>
              <a:rPr lang="tr-TR" sz="1000" baseline="0" dirty="0" smtClean="0"/>
              <a:t> seviyelerinde diğeri 1 </a:t>
            </a:r>
            <a:r>
              <a:rPr lang="tr-TR" sz="1000" baseline="0" dirty="0" err="1" smtClean="0"/>
              <a:t>gb</a:t>
            </a:r>
            <a:endParaRPr lang="tr-TR" sz="1000" baseline="0" dirty="0" smtClean="0"/>
          </a:p>
          <a:p>
            <a:r>
              <a:rPr lang="tr-TR" sz="1000" dirty="0" smtClean="0"/>
              <a:t>				sanal</a:t>
            </a:r>
            <a:r>
              <a:rPr lang="tr-TR" sz="1000" baseline="0" dirty="0" smtClean="0"/>
              <a:t> disk okuma 1300 adet okumaya çıkmış diğeri merkeze veri girişi oluyor 120 seviyelerinde</a:t>
            </a:r>
          </a:p>
          <a:p>
            <a:r>
              <a:rPr lang="tr-TR" sz="1000" baseline="0" dirty="0" smtClean="0"/>
              <a:t>				</a:t>
            </a:r>
            <a:r>
              <a:rPr lang="tr-TR" sz="1000" baseline="0" dirty="0" err="1" smtClean="0"/>
              <a:t>cpu</a:t>
            </a:r>
            <a:r>
              <a:rPr lang="tr-TR" sz="1000" baseline="0" dirty="0" smtClean="0"/>
              <a:t>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9000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seviyelerinde diğerinde 7500 </a:t>
            </a:r>
            <a:r>
              <a:rPr lang="tr-TR" sz="1000" baseline="0" dirty="0" err="1" smtClean="0"/>
              <a:t>mhz</a:t>
            </a:r>
            <a:r>
              <a:rPr lang="tr-TR" sz="1000" baseline="0" dirty="0" smtClean="0"/>
              <a:t> i geçmiyor</a:t>
            </a:r>
            <a:endParaRPr lang="tr-TR" sz="10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21842814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Kurum’da mevcut bölgelerdeki Metro Ethernet bant genişliği 5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bps’dir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ukarıdaki tablo da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özönüne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lındığında mevcut hatlarda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59 tanesinde değişiklik yapılmadan 46 tanesi 10Mbps’a, 30 tanesi 15Mbps’a, 15 tanesi 20Mbps’a, 17 tanesi 30Mbps’a, 8 tanesi 40Mbps’a, 1 tanesi 50Mbps’a, 1 tanesi de 60Mbps’a yükseltilmelidir.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şu an kurumun altyapısında bulunan sunucular, bu sunucuların kapladığı alan, bu sunucular için gerekli kablolama ve iklimlendirme hizmetleri (klima, klima bakımı, iklimlendirme için gerekli iş gücü vs.) gibi kaynaklara gerek kalmamıştır.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rıca bu sunucular için bakım, yangına karşı alınan tedbirler, deprem için kaygan ayak altyapısı ve her türlü sunucu temelli kaynak kullanımına artık gerek yoktur.</a:t>
            </a:r>
            <a:endParaRPr lang="tr-TR" sz="1000" b="1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41520751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taşra sunucularında yedekleme her bir taşra sunucuna harici bir disk takılarak gerçekleştirilmekted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harici disk bozulabilmek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eski yedekler tümüyle gidebilmekt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harici disk sunucu yuvasından çıkabilmekte ve yeni yedek alımları olamamakta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veri ve yedek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anyana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tr-TR" sz="1000" b="1" dirty="0" err="1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urmaka</a:t>
            </a: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ve olası bir felakette bu durum ciddi bir risk taşımaktadır.</a:t>
            </a:r>
          </a:p>
          <a:p>
            <a:r>
              <a:rPr lang="tr-TR" sz="1000" dirty="0" smtClean="0"/>
              <a:t>personeller sürekli tayin olmakta ve bir sunucudan diğer sunucuya tayin olan personelin belge geçişleri çok uzun süreler almakta ve kuruma ciddi iş gücü maliyetleri getirmektedir.</a:t>
            </a:r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19928542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tuz bin masaüstü bilgisayar 254 taşra sunucusunu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önetim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akımı ve idames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önemli miktarda iş gücü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liye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b="1" dirty="0" smtClean="0">
                <a:solidFill>
                  <a:srgbClr val="1F497D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jelendirme gerektirmektedir. sadece merkezde bir sunucu mimarisi ile buranın bakımı idamesi ve iş gücü Kurum için yeterli olmaktadır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000" dirty="0" smtClean="0"/>
              <a:t>yeni bir işletim sistemine geçilirken mevcut durumda otuz bin makineye de ayrı ayrı zamanlar imaj yüklemesi yapılması gerekmektedir. Bu durum </a:t>
            </a:r>
            <a:r>
              <a:rPr lang="tr-TR" sz="1000" dirty="0" err="1" smtClean="0"/>
              <a:t>antivirüs</a:t>
            </a:r>
            <a:r>
              <a:rPr lang="tr-TR" sz="1000" dirty="0" smtClean="0"/>
              <a:t> taraması ve çeşitli uygulamaların güncellenmesinde de böyledir. Ama ince istemciye geçilince; ince istemci merkezden bağlantı talep edeceğinden sadece merkezdeki şablonun güncellenmesi gerek ve yeter şarttır ve beş dakika gibi kısa bir sürede bu işlem yapılabilir</a:t>
            </a:r>
            <a:r>
              <a:rPr lang="tr-TR" sz="1000" baseline="0" dirty="0" smtClean="0"/>
              <a:t> </a:t>
            </a:r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 kullanıcılar bu değişikliği hissetmezler.</a:t>
            </a:r>
          </a:p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383043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608702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sz="1000" dirty="0"/>
          </a:p>
        </p:txBody>
      </p:sp>
    </p:spTree>
    <p:extLst>
      <p:ext uri="{BB962C8B-B14F-4D97-AF65-F5344CB8AC3E}">
        <p14:creationId xmlns:p14="http://schemas.microsoft.com/office/powerpoint/2010/main" val="9640375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29660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56570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92673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93238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Şekil</a:t>
            </a:r>
            <a:r>
              <a:rPr lang="tr-TR" baseline="0" dirty="0" smtClean="0"/>
              <a:t> çıktıktan sonra win7 den win10 a geçişi anlat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9637419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39451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340251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30167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ights_ppt_start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7825"/>
            <a:ext cx="12192000" cy="6858000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0" y="4437113"/>
            <a:ext cx="12192000" cy="821953"/>
          </a:xfrm>
        </p:spPr>
        <p:txBody>
          <a:bodyPr lIns="0" tIns="0" rIns="0" bIns="0" anchor="t" anchorCtr="0">
            <a:noAutofit/>
          </a:bodyPr>
          <a:lstStyle>
            <a:lvl1pPr>
              <a:defRPr sz="5400" b="0" spc="-150">
                <a:solidFill>
                  <a:schemeClr val="tx2"/>
                </a:solidFill>
                <a:effectLst>
                  <a:outerShdw dist="12700" dir="162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 dirty="0" smtClean="0"/>
              <a:t>The </a:t>
            </a:r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187057"/>
            <a:ext cx="12192000" cy="576064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accent2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s Name, Dat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0" hasCustomPrompt="1"/>
          </p:nvPr>
        </p:nvSpPr>
        <p:spPr>
          <a:xfrm>
            <a:off x="719403" y="620688"/>
            <a:ext cx="10753195" cy="2304256"/>
          </a:xfrm>
        </p:spPr>
        <p:txBody>
          <a:bodyPr wrap="square" lIns="0" tIns="0" rIns="0" bIns="0" numCol="1" anchor="ctr" anchorCtr="0">
            <a:noAutofit/>
          </a:bodyPr>
          <a:lstStyle>
            <a:lvl1pPr marL="0" indent="-180000" algn="ctr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4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 smtClean="0"/>
              <a:t>Your</a:t>
            </a:r>
            <a:r>
              <a:rPr lang="de-DE" dirty="0" smtClean="0"/>
              <a:t> Logo </a:t>
            </a:r>
            <a:r>
              <a:rPr lang="de-DE" dirty="0" err="1" smtClean="0"/>
              <a:t>or</a:t>
            </a:r>
            <a:r>
              <a:rPr lang="de-DE" dirty="0" smtClean="0"/>
              <a:t> Company Name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7029400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815414" y="317788"/>
            <a:ext cx="10561173" cy="86409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400" b="1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de-DE" dirty="0" err="1" smtClean="0"/>
              <a:t>Your</a:t>
            </a:r>
            <a:r>
              <a:rPr lang="de-DE" dirty="0" smtClean="0"/>
              <a:t> Headline</a:t>
            </a:r>
            <a:endParaRPr lang="de-DE" dirty="0"/>
          </a:p>
        </p:txBody>
      </p:sp>
      <p:pic>
        <p:nvPicPr>
          <p:cNvPr id="24" name="Grafik 23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326827" y="6191789"/>
            <a:ext cx="469900" cy="352425"/>
          </a:xfrm>
          <a:prstGeom prst="rect">
            <a:avLst/>
          </a:prstGeom>
        </p:spPr>
      </p:pic>
      <p:pic>
        <p:nvPicPr>
          <p:cNvPr id="25" name="Grafik 24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1228255" y="6191789"/>
            <a:ext cx="469900" cy="3524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 rotWithShape="1">
          <a:blip r:embed="rId2" cstate="print"/>
          <a:srcRect r="-202" b="5551"/>
          <a:stretch/>
        </p:blipFill>
        <p:spPr>
          <a:xfrm>
            <a:off x="0" y="0"/>
            <a:ext cx="12216680" cy="6885384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815414" y="317788"/>
            <a:ext cx="10561173" cy="86409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400" b="1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de-DE" dirty="0" err="1" smtClean="0"/>
              <a:t>Your</a:t>
            </a:r>
            <a:r>
              <a:rPr lang="de-DE" dirty="0" smtClean="0"/>
              <a:t> Headline</a:t>
            </a:r>
            <a:endParaRPr lang="de-DE" dirty="0"/>
          </a:p>
        </p:txBody>
      </p:sp>
      <p:pic>
        <p:nvPicPr>
          <p:cNvPr id="22" name="Grafik 21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776520" y="6346310"/>
            <a:ext cx="469900" cy="352425"/>
          </a:xfrm>
          <a:prstGeom prst="rect">
            <a:avLst/>
          </a:prstGeom>
        </p:spPr>
      </p:pic>
      <p:pic>
        <p:nvPicPr>
          <p:cNvPr id="23" name="Grafik 22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1568608" y="6346310"/>
            <a:ext cx="469900" cy="3524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97944"/>
            <a:ext cx="12192000" cy="6858000"/>
          </a:xfrm>
          <a:prstGeom prst="rect">
            <a:avLst/>
          </a:prstGeom>
        </p:spPr>
      </p:pic>
      <p:pic>
        <p:nvPicPr>
          <p:cNvPr id="14" name="Grafik 13" descr="cn_logo_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5414" y="5918992"/>
            <a:ext cx="1268479" cy="678360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815414" y="317788"/>
            <a:ext cx="10561173" cy="86409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400" b="1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de-DE" dirty="0" err="1" smtClean="0"/>
              <a:t>Your</a:t>
            </a:r>
            <a:r>
              <a:rPr lang="de-DE" dirty="0" smtClean="0"/>
              <a:t> Headline</a:t>
            </a:r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idx="1" hasCustomPrompt="1"/>
          </p:nvPr>
        </p:nvSpPr>
        <p:spPr>
          <a:xfrm>
            <a:off x="815413" y="3068960"/>
            <a:ext cx="3168352" cy="244827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9" name="Bildplatzhalter 2" descr="Click For Your Pic"/>
          <p:cNvSpPr>
            <a:spLocks noGrp="1"/>
          </p:cNvSpPr>
          <p:nvPr>
            <p:ph type="pic" idx="13" hasCustomPrompt="1"/>
          </p:nvPr>
        </p:nvSpPr>
        <p:spPr>
          <a:xfrm>
            <a:off x="815413" y="1628800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1" name="Bildplatzhalter 2" descr="Click For Your Pic"/>
          <p:cNvSpPr>
            <a:spLocks noGrp="1"/>
          </p:cNvSpPr>
          <p:nvPr>
            <p:ph type="pic" idx="14" hasCustomPrompt="1"/>
          </p:nvPr>
        </p:nvSpPr>
        <p:spPr>
          <a:xfrm>
            <a:off x="4511824" y="1628800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2" name="Bildplatzhalter 2" descr="Click For Your Pic"/>
          <p:cNvSpPr>
            <a:spLocks noGrp="1"/>
          </p:cNvSpPr>
          <p:nvPr>
            <p:ph type="pic" idx="15" hasCustomPrompt="1"/>
          </p:nvPr>
        </p:nvSpPr>
        <p:spPr>
          <a:xfrm>
            <a:off x="8208235" y="1628800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3" name="Inhaltsplatzhalter 2"/>
          <p:cNvSpPr>
            <a:spLocks noGrp="1"/>
          </p:cNvSpPr>
          <p:nvPr>
            <p:ph idx="16" hasCustomPrompt="1"/>
          </p:nvPr>
        </p:nvSpPr>
        <p:spPr>
          <a:xfrm>
            <a:off x="4511824" y="3068960"/>
            <a:ext cx="3168352" cy="244827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idx="17" hasCustomPrompt="1"/>
          </p:nvPr>
        </p:nvSpPr>
        <p:spPr>
          <a:xfrm>
            <a:off x="8208235" y="3068960"/>
            <a:ext cx="3168352" cy="244827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8" name="Fußzeilenplatzhalter 4"/>
          <p:cNvSpPr txBox="1">
            <a:spLocks/>
          </p:cNvSpPr>
          <p:nvPr userDrawn="1"/>
        </p:nvSpPr>
        <p:spPr>
          <a:xfrm>
            <a:off x="5883605" y="6120592"/>
            <a:ext cx="2708672" cy="6480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company-name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llo@company-name.com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Fußzeilenplatzhalter 4"/>
          <p:cNvSpPr txBox="1">
            <a:spLocks/>
          </p:cNvSpPr>
          <p:nvPr userDrawn="1"/>
        </p:nvSpPr>
        <p:spPr>
          <a:xfrm>
            <a:off x="3119670" y="6120680"/>
            <a:ext cx="2784309" cy="7647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 err="1" smtClean="0">
                <a:solidFill>
                  <a:schemeClr val="accent2"/>
                </a:solidFill>
              </a:rPr>
              <a:t>Lorem</a:t>
            </a:r>
            <a:r>
              <a:rPr lang="en-US" sz="1000" dirty="0" smtClean="0">
                <a:solidFill>
                  <a:schemeClr val="accent2"/>
                </a:solidFill>
              </a:rPr>
              <a:t> </a:t>
            </a:r>
            <a:r>
              <a:rPr lang="en-US" sz="1000" dirty="0" err="1" smtClean="0">
                <a:solidFill>
                  <a:schemeClr val="accent2"/>
                </a:solidFill>
              </a:rPr>
              <a:t>Ipsum</a:t>
            </a:r>
            <a:r>
              <a:rPr lang="en-US" sz="1000" dirty="0" smtClean="0">
                <a:solidFill>
                  <a:schemeClr val="accent2"/>
                </a:solidFill>
              </a:rPr>
              <a:t> Street 122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State, Country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Phone  0123 4567 89</a:t>
            </a:r>
            <a:endParaRPr lang="de-DE" sz="1000" dirty="0" smtClean="0">
              <a:solidFill>
                <a:schemeClr val="accent2"/>
              </a:solidFill>
            </a:endParaRPr>
          </a:p>
        </p:txBody>
      </p:sp>
      <p:pic>
        <p:nvPicPr>
          <p:cNvPr id="26" name="Grafik 25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326827" y="6191789"/>
            <a:ext cx="469900" cy="352425"/>
          </a:xfrm>
          <a:prstGeom prst="rect">
            <a:avLst/>
          </a:prstGeom>
        </p:spPr>
      </p:pic>
      <p:pic>
        <p:nvPicPr>
          <p:cNvPr id="27" name="Grafik 26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1228255" y="6191789"/>
            <a:ext cx="469900" cy="3524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Grafik 13" descr="cn_logo_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5414" y="5918992"/>
            <a:ext cx="1268479" cy="678360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815414" y="317788"/>
            <a:ext cx="10561173" cy="86409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400" b="1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de-DE" dirty="0" err="1" smtClean="0"/>
              <a:t>Your</a:t>
            </a:r>
            <a:r>
              <a:rPr lang="de-DE" dirty="0" smtClean="0"/>
              <a:t> Headli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idx="20" hasCustomPrompt="1"/>
          </p:nvPr>
        </p:nvSpPr>
        <p:spPr>
          <a:xfrm>
            <a:off x="4559829" y="1700808"/>
            <a:ext cx="6864763" cy="100811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27" name="Bildplatzhalter 2" descr="Click For Your Pic"/>
          <p:cNvSpPr>
            <a:spLocks noGrp="1"/>
          </p:cNvSpPr>
          <p:nvPr>
            <p:ph type="pic" idx="13" hasCustomPrompt="1"/>
          </p:nvPr>
        </p:nvSpPr>
        <p:spPr>
          <a:xfrm>
            <a:off x="815413" y="1628800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8" name="Bildplatzhalter 2" descr="Click For Your Pic"/>
          <p:cNvSpPr>
            <a:spLocks noGrp="1"/>
          </p:cNvSpPr>
          <p:nvPr>
            <p:ph type="pic" idx="22" hasCustomPrompt="1"/>
          </p:nvPr>
        </p:nvSpPr>
        <p:spPr>
          <a:xfrm>
            <a:off x="815413" y="2924944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9" name="Bildplatzhalter 2" descr="Click For Your Pic"/>
          <p:cNvSpPr>
            <a:spLocks noGrp="1"/>
          </p:cNvSpPr>
          <p:nvPr>
            <p:ph type="pic" idx="23" hasCustomPrompt="1"/>
          </p:nvPr>
        </p:nvSpPr>
        <p:spPr>
          <a:xfrm>
            <a:off x="815413" y="4221088"/>
            <a:ext cx="3168352" cy="1152128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4" hasCustomPrompt="1"/>
          </p:nvPr>
        </p:nvSpPr>
        <p:spPr>
          <a:xfrm>
            <a:off x="4559829" y="2996952"/>
            <a:ext cx="6864763" cy="100811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31" name="Inhaltsplatzhalter 2"/>
          <p:cNvSpPr>
            <a:spLocks noGrp="1"/>
          </p:cNvSpPr>
          <p:nvPr>
            <p:ph idx="25" hasCustomPrompt="1"/>
          </p:nvPr>
        </p:nvSpPr>
        <p:spPr>
          <a:xfrm>
            <a:off x="4559829" y="4293096"/>
            <a:ext cx="6864763" cy="1008112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8" name="Fußzeilenplatzhalter 4"/>
          <p:cNvSpPr txBox="1">
            <a:spLocks/>
          </p:cNvSpPr>
          <p:nvPr userDrawn="1"/>
        </p:nvSpPr>
        <p:spPr>
          <a:xfrm>
            <a:off x="5883605" y="6120592"/>
            <a:ext cx="2708672" cy="6480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company-name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llo@company-name.com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>
            <a:off x="3119670" y="6120680"/>
            <a:ext cx="2784309" cy="7647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 err="1" smtClean="0">
                <a:solidFill>
                  <a:schemeClr val="accent2"/>
                </a:solidFill>
              </a:rPr>
              <a:t>Lorem</a:t>
            </a:r>
            <a:r>
              <a:rPr lang="en-US" sz="1000" dirty="0" smtClean="0">
                <a:solidFill>
                  <a:schemeClr val="accent2"/>
                </a:solidFill>
              </a:rPr>
              <a:t> </a:t>
            </a:r>
            <a:r>
              <a:rPr lang="en-US" sz="1000" dirty="0" err="1" smtClean="0">
                <a:solidFill>
                  <a:schemeClr val="accent2"/>
                </a:solidFill>
              </a:rPr>
              <a:t>Ipsum</a:t>
            </a:r>
            <a:r>
              <a:rPr lang="en-US" sz="1000" dirty="0" smtClean="0">
                <a:solidFill>
                  <a:schemeClr val="accent2"/>
                </a:solidFill>
              </a:rPr>
              <a:t> Street 122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State, Country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Phone  0123 4567 89</a:t>
            </a:r>
            <a:endParaRPr lang="de-DE" sz="1000" dirty="0" smtClean="0">
              <a:solidFill>
                <a:schemeClr val="accent2"/>
              </a:solidFill>
            </a:endParaRPr>
          </a:p>
        </p:txBody>
      </p:sp>
      <p:pic>
        <p:nvPicPr>
          <p:cNvPr id="21" name="Grafik 20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326827" y="6191789"/>
            <a:ext cx="469900" cy="352425"/>
          </a:xfrm>
          <a:prstGeom prst="rect">
            <a:avLst/>
          </a:prstGeom>
        </p:spPr>
      </p:pic>
      <p:pic>
        <p:nvPicPr>
          <p:cNvPr id="22" name="Grafik 21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416480" y="6191788"/>
            <a:ext cx="469900" cy="3524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7825"/>
            <a:ext cx="12192000" cy="6858000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7" name="Inhaltsplatzhalter 2"/>
          <p:cNvSpPr>
            <a:spLocks noGrp="1"/>
          </p:cNvSpPr>
          <p:nvPr>
            <p:ph idx="1" hasCustomPrompt="1"/>
          </p:nvPr>
        </p:nvSpPr>
        <p:spPr>
          <a:xfrm>
            <a:off x="815413" y="1556792"/>
            <a:ext cx="4704523" cy="3960440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8" name="Bildplatzhalter 2" descr="Click For Your Pic"/>
          <p:cNvSpPr>
            <a:spLocks noGrp="1"/>
          </p:cNvSpPr>
          <p:nvPr>
            <p:ph type="pic" idx="13" hasCustomPrompt="1"/>
          </p:nvPr>
        </p:nvSpPr>
        <p:spPr>
          <a:xfrm>
            <a:off x="6672064" y="1628800"/>
            <a:ext cx="4704523" cy="3384376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pic>
        <p:nvPicPr>
          <p:cNvPr id="22" name="Grafik 21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326827" y="6191789"/>
            <a:ext cx="469900" cy="352425"/>
          </a:xfrm>
          <a:prstGeom prst="rect">
            <a:avLst/>
          </a:prstGeom>
        </p:spPr>
      </p:pic>
      <p:pic>
        <p:nvPicPr>
          <p:cNvPr id="23" name="Grafik 22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1228255" y="6191789"/>
            <a:ext cx="469900" cy="352425"/>
          </a:xfrm>
          <a:prstGeom prst="rect">
            <a:avLst/>
          </a:prstGeom>
        </p:spPr>
      </p:pic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lights_ppt_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Grafik 13" descr="cn_logo_w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5414" y="5918992"/>
            <a:ext cx="1268479" cy="678360"/>
          </a:xfrm>
          <a:prstGeom prst="rect">
            <a:avLst/>
          </a:prstGeom>
        </p:spPr>
      </p:pic>
      <p:pic>
        <p:nvPicPr>
          <p:cNvPr id="15" name="Grafik 14" descr="trenne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1196752"/>
            <a:ext cx="12192000" cy="178594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815414" y="317788"/>
            <a:ext cx="10561173" cy="86409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400" b="1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de-DE" dirty="0" err="1" smtClean="0"/>
              <a:t>Your</a:t>
            </a:r>
            <a:r>
              <a:rPr lang="de-DE" dirty="0" smtClean="0"/>
              <a:t> Headline</a:t>
            </a:r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idx="13" hasCustomPrompt="1"/>
          </p:nvPr>
        </p:nvSpPr>
        <p:spPr>
          <a:xfrm>
            <a:off x="6672064" y="1556792"/>
            <a:ext cx="4704523" cy="3960440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>
            <a:off x="5883605" y="6120592"/>
            <a:ext cx="2708672" cy="6480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company-name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llo@company-name.com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Fußzeilenplatzhalter 4"/>
          <p:cNvSpPr txBox="1">
            <a:spLocks/>
          </p:cNvSpPr>
          <p:nvPr userDrawn="1"/>
        </p:nvSpPr>
        <p:spPr>
          <a:xfrm>
            <a:off x="3119670" y="6120680"/>
            <a:ext cx="2784309" cy="7647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 err="1" smtClean="0">
                <a:solidFill>
                  <a:schemeClr val="accent2"/>
                </a:solidFill>
              </a:rPr>
              <a:t>Lorem</a:t>
            </a:r>
            <a:r>
              <a:rPr lang="en-US" sz="1000" dirty="0" smtClean="0">
                <a:solidFill>
                  <a:schemeClr val="accent2"/>
                </a:solidFill>
              </a:rPr>
              <a:t> </a:t>
            </a:r>
            <a:r>
              <a:rPr lang="en-US" sz="1000" dirty="0" err="1" smtClean="0">
                <a:solidFill>
                  <a:schemeClr val="accent2"/>
                </a:solidFill>
              </a:rPr>
              <a:t>Ipsum</a:t>
            </a:r>
            <a:r>
              <a:rPr lang="en-US" sz="1000" dirty="0" smtClean="0">
                <a:solidFill>
                  <a:schemeClr val="accent2"/>
                </a:solidFill>
              </a:rPr>
              <a:t> Street 122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State, Country</a:t>
            </a:r>
          </a:p>
          <a:p>
            <a:r>
              <a:rPr lang="en-US" sz="1000" dirty="0" smtClean="0">
                <a:solidFill>
                  <a:schemeClr val="accent2"/>
                </a:solidFill>
              </a:rPr>
              <a:t>Phone  0123 4567 89</a:t>
            </a:r>
            <a:endParaRPr lang="de-DE" sz="1000" dirty="0" smtClean="0">
              <a:solidFill>
                <a:schemeClr val="accent2"/>
              </a:solidFill>
            </a:endParaRPr>
          </a:p>
        </p:txBody>
      </p:sp>
      <p:sp>
        <p:nvSpPr>
          <p:cNvPr id="11" name="Bildplatzhalter 2" descr="Click For Your Pic"/>
          <p:cNvSpPr>
            <a:spLocks noGrp="1"/>
          </p:cNvSpPr>
          <p:nvPr>
            <p:ph type="pic" idx="14" hasCustomPrompt="1"/>
          </p:nvPr>
        </p:nvSpPr>
        <p:spPr>
          <a:xfrm>
            <a:off x="815413" y="1628800"/>
            <a:ext cx="4704523" cy="1800200"/>
          </a:xfrm>
          <a:gradFill flip="none" rotWithShape="1">
            <a:gsLst>
              <a:gs pos="0">
                <a:schemeClr val="tx2"/>
              </a:gs>
              <a:gs pos="50000">
                <a:schemeClr val="bg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Picture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815413" y="3717032"/>
            <a:ext cx="4704523" cy="1800200"/>
          </a:xfrm>
        </p:spPr>
        <p:txBody>
          <a:bodyPr wrap="square" lIns="0" tIns="0" rIns="0" bIns="0" numCol="1" anchor="t" anchorCtr="0">
            <a:noAutofit/>
          </a:bodyPr>
          <a:lstStyle>
            <a:lvl1pPr marL="0" indent="-180000" algn="just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1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Your Text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ullets</a:t>
            </a:r>
            <a:r>
              <a:rPr lang="de-DE" dirty="0" smtClean="0"/>
              <a:t>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!</a:t>
            </a:r>
            <a:endParaRPr lang="de-DE" dirty="0"/>
          </a:p>
        </p:txBody>
      </p:sp>
      <p:pic>
        <p:nvPicPr>
          <p:cNvPr id="23" name="Grafik 22" descr="arrow_back.png">
            <a:hlinkClick r:id="" action="ppaction://hlinkshowjump?jump=previousslide"/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326827" y="6191789"/>
            <a:ext cx="469900" cy="352425"/>
          </a:xfrm>
          <a:prstGeom prst="rect">
            <a:avLst/>
          </a:prstGeom>
        </p:spPr>
      </p:pic>
      <p:pic>
        <p:nvPicPr>
          <p:cNvPr id="24" name="Grafik 23" descr="arrow_next.png">
            <a:hlinkClick r:id="" action="ppaction://hlinkshowjump?jump=nextslide"/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1228255" y="6191789"/>
            <a:ext cx="469900" cy="3524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ights_ppt_start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0" y="4437113"/>
            <a:ext cx="12192000" cy="821953"/>
          </a:xfrm>
        </p:spPr>
        <p:txBody>
          <a:bodyPr lIns="0" tIns="0" rIns="0" bIns="0" anchor="t" anchorCtr="0">
            <a:noAutofit/>
          </a:bodyPr>
          <a:lstStyle>
            <a:lvl1pPr>
              <a:defRPr sz="5400" b="0" spc="-150" baseline="0">
                <a:solidFill>
                  <a:schemeClr val="tx2"/>
                </a:solidFill>
                <a:effectLst>
                  <a:outerShdw dist="12700" dir="162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 dirty="0" err="1" smtClean="0"/>
              <a:t>Good</a:t>
            </a:r>
            <a:r>
              <a:rPr lang="de-DE" dirty="0" smtClean="0"/>
              <a:t> Bye Text</a:t>
            </a:r>
            <a:endParaRPr lang="de-DE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187057"/>
            <a:ext cx="12192000" cy="576064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accent2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s Name, Date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>
          <a:xfrm>
            <a:off x="719403" y="620688"/>
            <a:ext cx="10753195" cy="2304256"/>
          </a:xfrm>
        </p:spPr>
        <p:txBody>
          <a:bodyPr wrap="square" lIns="0" tIns="0" rIns="0" bIns="0" numCol="1" anchor="ctr" anchorCtr="0">
            <a:noAutofit/>
          </a:bodyPr>
          <a:lstStyle>
            <a:lvl1pPr marL="0" indent="-180000" algn="ctr">
              <a:lnSpc>
                <a:spcPct val="100000"/>
              </a:lnSpc>
              <a:spcBef>
                <a:spcPts val="100"/>
              </a:spcBef>
              <a:buFont typeface="Arial" pitchFamily="34" charset="0"/>
              <a:buNone/>
              <a:defRPr lang="de-DE" sz="4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 smtClean="0"/>
              <a:t>Your</a:t>
            </a:r>
            <a:r>
              <a:rPr lang="de-DE" dirty="0" smtClean="0"/>
              <a:t> Logo </a:t>
            </a:r>
            <a:r>
              <a:rPr lang="de-DE" dirty="0" err="1" smtClean="0"/>
              <a:t>or</a:t>
            </a:r>
            <a:r>
              <a:rPr lang="de-DE" dirty="0" smtClean="0"/>
              <a:t> Company Name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25A2E9-89E1-4605-85B7-FCAC8D801E55}" type="datetime1">
              <a:rPr lang="de-DE" smtClean="0"/>
              <a:pPr/>
              <a:t>05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E49DB-545E-46CA-A06F-217AEC04D59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 descr="light-001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" y="3107532"/>
            <a:ext cx="12191997" cy="3750467"/>
          </a:xfrm>
          <a:prstGeom prst="rect">
            <a:avLst/>
          </a:prstGeom>
        </p:spPr>
      </p:pic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11178676" y="6356351"/>
            <a:ext cx="494309" cy="433387"/>
          </a:xfrm>
          <a:prstGeom prst="rect">
            <a:avLst/>
          </a:prstGeom>
        </p:spPr>
        <p:txBody>
          <a:bodyPr anchor="t" anchorCtr="0"/>
          <a:lstStyle>
            <a:lvl1pPr algn="l">
              <a:defRPr sz="1400" b="1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E49DB-545E-46CA-A06F-217AEC04D591}" type="slidenum">
              <a:rPr kumimoji="0" lang="de-DE" sz="14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4" r:id="rId3"/>
    <p:sldLayoutId id="2147483663" r:id="rId4"/>
    <p:sldLayoutId id="2147483665" r:id="rId5"/>
    <p:sldLayoutId id="2147483662" r:id="rId6"/>
    <p:sldLayoutId id="2147483666" r:id="rId7"/>
    <p:sldLayoutId id="2147483667" r:id="rId8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730896" y="836712"/>
            <a:ext cx="10369152" cy="1152128"/>
          </a:xfrm>
        </p:spPr>
        <p:txBody>
          <a:bodyPr/>
          <a:lstStyle/>
          <a:p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Kurumsal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Ağlarda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Uzak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ve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Merkezi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İşlem</a:t>
            </a:r>
            <a:r>
              <a:rPr lang="de-DE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Birimlerinin</a:t>
            </a:r>
            <a:r>
              <a:rPr lang="de-DE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Sanallaştırılması</a:t>
            </a:r>
            <a:r>
              <a:rPr lang="de-DE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: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Bir</a:t>
            </a:r>
            <a:r>
              <a:rPr lang="de-DE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Uygulama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tr-TR" sz="2800" dirty="0" smtClean="0"/>
              <a:t/>
            </a:r>
            <a:br>
              <a:rPr lang="tr-TR" sz="2800" dirty="0" smtClean="0"/>
            </a:br>
            <a:r>
              <a:rPr lang="tr-TR" sz="2800" dirty="0"/>
              <a:t/>
            </a:r>
            <a:br>
              <a:rPr lang="tr-TR" sz="2800" dirty="0"/>
            </a:br>
            <a:r>
              <a:rPr lang="tr-TR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  <a:t/>
            </a:r>
            <a:br>
              <a:rPr lang="tr-TR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</a:br>
            <a: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  <a:t/>
            </a:r>
            <a:b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</a:br>
            <a: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  <a:t/>
            </a:r>
            <a:b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Adobe Ming Std L" panose="02020300000000000000" pitchFamily="18" charset="-128"/>
                <a:cs typeface="+mn-cs"/>
              </a:rPr>
            </a:br>
            <a:endParaRPr lang="de-DE" sz="2400" b="1" dirty="0"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ea typeface="Adobe Ming Std L" panose="02020300000000000000" pitchFamily="18" charset="-128"/>
              <a:cs typeface="+mn-cs"/>
            </a:endParaRPr>
          </a:p>
        </p:txBody>
      </p:sp>
      <p:sp>
        <p:nvSpPr>
          <p:cNvPr id="10" name="Untertitel 8"/>
          <p:cNvSpPr>
            <a:spLocks noGrp="1"/>
          </p:cNvSpPr>
          <p:nvPr>
            <p:ph type="subTitle" idx="1"/>
          </p:nvPr>
        </p:nvSpPr>
        <p:spPr>
          <a:xfrm>
            <a:off x="1343472" y="6165552"/>
            <a:ext cx="9144000" cy="4318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tr-TR" b="1" i="0" dirty="0" smtClean="0">
                <a:solidFill>
                  <a:schemeClr val="accent2">
                    <a:lumMod val="40000"/>
                    <a:lumOff val="60000"/>
                  </a:schemeClr>
                </a:solidFill>
                <a:ea typeface="Adobe Ming Std L" panose="02020300000000000000" pitchFamily="18" charset="-128"/>
              </a:rPr>
              <a:t>ŞUBAT 2016</a:t>
            </a:r>
            <a:endParaRPr lang="de-DE" b="1" i="0" dirty="0">
              <a:solidFill>
                <a:schemeClr val="accent2">
                  <a:lumMod val="40000"/>
                  <a:lumOff val="60000"/>
                </a:schemeClr>
              </a:solidFill>
              <a:ea typeface="Adobe Ming Std L" panose="02020300000000000000" pitchFamily="18" charset="-128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3035152" y="4437112"/>
            <a:ext cx="57606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3200" dirty="0">
                <a:solidFill>
                  <a:schemeClr val="tx2"/>
                </a:solidFill>
                <a:ea typeface="Adobe Ming Std L" panose="02020300000000000000" pitchFamily="18" charset="-128"/>
              </a:rPr>
              <a:t>Emrah </a:t>
            </a:r>
            <a:r>
              <a:rPr lang="tr-TR" sz="3200" dirty="0" smtClean="0">
                <a:solidFill>
                  <a:schemeClr val="tx2"/>
                </a:solidFill>
                <a:ea typeface="Adobe Ming Std L" panose="02020300000000000000" pitchFamily="18" charset="-128"/>
              </a:rPr>
              <a:t>ÇOLAK,  SGK</a:t>
            </a:r>
            <a:endParaRPr lang="tr-TR" sz="32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tr-TR" sz="3200" dirty="0">
                <a:solidFill>
                  <a:schemeClr val="tx2"/>
                </a:solidFill>
              </a:rPr>
              <a:t>Aydın ÇETİN, </a:t>
            </a:r>
            <a:r>
              <a:rPr lang="tr-TR" sz="3200" dirty="0" smtClean="0">
                <a:solidFill>
                  <a:schemeClr val="tx2"/>
                </a:solidFill>
              </a:rPr>
              <a:t>    Gazi </a:t>
            </a:r>
            <a:r>
              <a:rPr lang="tr-TR" sz="3200" dirty="0">
                <a:solidFill>
                  <a:schemeClr val="tx2"/>
                </a:solidFill>
              </a:rPr>
              <a:t>Üniversitesi </a:t>
            </a:r>
            <a:endParaRPr lang="tr-TR" sz="3200" dirty="0" smtClean="0">
              <a:solidFill>
                <a:schemeClr val="tx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ea typeface="Adobe Ming Std L" panose="02020300000000000000" pitchFamily="18" charset="-128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smtClean="0"/>
              <a:t>İnce İstemci Avantajları</a:t>
            </a:r>
            <a:br>
              <a:rPr lang="tr-TR" smtClean="0"/>
            </a:br>
            <a:endParaRPr lang="tr-TR" dirty="0"/>
          </a:p>
        </p:txBody>
      </p:sp>
      <p:sp>
        <p:nvSpPr>
          <p:cNvPr id="2" name="Dikdörtgen 1"/>
          <p:cNvSpPr/>
          <p:nvPr/>
        </p:nvSpPr>
        <p:spPr>
          <a:xfrm>
            <a:off x="551384" y="1268760"/>
            <a:ext cx="1044116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Gelişmiş 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güvenlik (istemci üzerinde bilgi bulundurulmaz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)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İklimlendirme 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elemanlarına ve uç noktadaki sunuculara gerek 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almaması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İstemcinin 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uzun ömürlü olması (çok daha düşük performanslı çalıştığı için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)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Çevresel 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faktörlere (toz, nem 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vs.) 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daha dayanıklı 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olması</a:t>
            </a: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1683" y="3429000"/>
            <a:ext cx="2609314" cy="2487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55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</a:t>
            </a:r>
            <a:r>
              <a:rPr lang="tr-TR" dirty="0" smtClean="0"/>
              <a:t>Dezavantajlar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695400" y="1901731"/>
            <a:ext cx="1013978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Merkezileştirilmiş </a:t>
            </a: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yapı</a:t>
            </a:r>
            <a:endParaRPr lang="tr-TR" sz="2000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sp>
        <p:nvSpPr>
          <p:cNvPr id="6" name="Dikdörtgen 5"/>
          <p:cNvSpPr/>
          <p:nvPr/>
        </p:nvSpPr>
        <p:spPr>
          <a:xfrm>
            <a:off x="689143" y="2351867"/>
            <a:ext cx="37251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Güçlü sunucu altyapısı ihtiyacı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689143" y="2802003"/>
            <a:ext cx="25251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Sıfırdan cihaz alımı </a:t>
            </a:r>
          </a:p>
        </p:txBody>
      </p:sp>
      <p:sp>
        <p:nvSpPr>
          <p:cNvPr id="8" name="Dikdörtgen 7"/>
          <p:cNvSpPr/>
          <p:nvPr/>
        </p:nvSpPr>
        <p:spPr>
          <a:xfrm>
            <a:off x="689143" y="3279466"/>
            <a:ext cx="38933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Yedekli yapı (</a:t>
            </a:r>
            <a:r>
              <a:rPr lang="tr-TR" sz="2000" b="1" dirty="0" err="1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redundant</a:t>
            </a: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) ihtiyacı</a:t>
            </a:r>
          </a:p>
        </p:txBody>
      </p:sp>
      <p:sp>
        <p:nvSpPr>
          <p:cNvPr id="9" name="Dikdörtgen 8"/>
          <p:cNvSpPr/>
          <p:nvPr/>
        </p:nvSpPr>
        <p:spPr>
          <a:xfrm>
            <a:off x="689143" y="3756929"/>
            <a:ext cx="33910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Mevcut yapıya entegrasyon</a:t>
            </a:r>
          </a:p>
        </p:txBody>
      </p:sp>
    </p:spTree>
    <p:extLst>
      <p:ext uri="{BB962C8B-B14F-4D97-AF65-F5344CB8AC3E}">
        <p14:creationId xmlns:p14="http://schemas.microsoft.com/office/powerpoint/2010/main" val="406385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Örnek Uygulama Ortam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4871864" y="5375538"/>
            <a:ext cx="208823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Yönetici </a:t>
            </a:r>
            <a:r>
              <a:rPr lang="tr-TR" sz="2000" b="1" dirty="0" err="1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Arayüzü</a:t>
            </a: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9576" y="1298080"/>
            <a:ext cx="7272808" cy="4327734"/>
          </a:xfrm>
          <a:prstGeom prst="rect">
            <a:avLst/>
          </a:prstGeom>
        </p:spPr>
      </p:pic>
      <p:pic>
        <p:nvPicPr>
          <p:cNvPr id="6" name="Resi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544" y="1298080"/>
            <a:ext cx="7862408" cy="450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17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Örnek Uygulama Ortam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4727848" y="5375538"/>
            <a:ext cx="396044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ullanıcı Ağ </a:t>
            </a:r>
            <a:r>
              <a:rPr lang="tr-TR" sz="2000" b="1" dirty="0" err="1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Arayüzü</a:t>
            </a: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pic>
        <p:nvPicPr>
          <p:cNvPr id="6" name="Resim 5" descr="yMB8EM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1340768"/>
            <a:ext cx="7848872" cy="44644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769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Örnek Uygulama Ortam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4367808" y="5375538"/>
            <a:ext cx="396044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ullanıcı Başlangıç </a:t>
            </a:r>
            <a:r>
              <a:rPr lang="tr-TR" sz="2000" b="1" dirty="0" err="1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Arayüzü</a:t>
            </a: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544" y="1324954"/>
            <a:ext cx="7848873" cy="448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62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Örnek Uygulama Ortam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3971764" y="5375538"/>
            <a:ext cx="424847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İnce İstemcilerin Aynı Anda Çalışması</a:t>
            </a: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pic>
        <p:nvPicPr>
          <p:cNvPr id="7" name="Resim 6" descr="şekil 3-6 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5" y="1324954"/>
            <a:ext cx="7848872" cy="44803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388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Örnek Uygulama Ortam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pic>
        <p:nvPicPr>
          <p:cNvPr id="7" name="Resim 6" descr="şekil 3-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1324954"/>
            <a:ext cx="7848873" cy="448030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Dikdörtgen 8"/>
          <p:cNvSpPr/>
          <p:nvPr/>
        </p:nvSpPr>
        <p:spPr>
          <a:xfrm>
            <a:off x="3971764" y="5373216"/>
            <a:ext cx="424847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İnce İstemcilerin Rastgele Çalışması</a:t>
            </a: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596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Haberleşme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780752" y="1181884"/>
            <a:ext cx="1013978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600" b="1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285750" lvl="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600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311424"/>
              </p:ext>
            </p:extLst>
          </p:nvPr>
        </p:nvGraphicFramePr>
        <p:xfrm>
          <a:off x="3243968" y="2085208"/>
          <a:ext cx="6452432" cy="2783949"/>
        </p:xfrm>
        <a:graphic>
          <a:graphicData uri="http://schemas.openxmlformats.org/drawingml/2006/table">
            <a:tbl>
              <a:tblPr firstRow="1" firstCol="1" bandRow="1">
                <a:tableStyleId>{0660B408-B3CF-4A94-85FC-2B1E0A45F4A2}</a:tableStyleId>
              </a:tblPr>
              <a:tblGrid>
                <a:gridCol w="2218662"/>
                <a:gridCol w="2005677"/>
                <a:gridCol w="2228093"/>
              </a:tblGrid>
              <a:tr h="55678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Bant genişliği (</a:t>
                      </a:r>
                      <a:r>
                        <a:rPr lang="tr-TR" sz="1600" dirty="0" err="1">
                          <a:effectLst/>
                        </a:rPr>
                        <a:t>Mbps</a:t>
                      </a:r>
                      <a:r>
                        <a:rPr lang="tr-TR" sz="1600" dirty="0">
                          <a:effectLst/>
                        </a:rPr>
                        <a:t>)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Çalışan sayısı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Bölge </a:t>
                      </a:r>
                      <a:r>
                        <a:rPr lang="tr-TR" sz="1600" smtClean="0">
                          <a:effectLst/>
                        </a:rPr>
                        <a:t>sayısı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smtClean="0">
                          <a:effectLst/>
                        </a:rPr>
                        <a:t>(</a:t>
                      </a:r>
                      <a:r>
                        <a:rPr lang="tr-TR" sz="1600" dirty="0">
                          <a:effectLst/>
                        </a:rPr>
                        <a:t>Toplam 177 adet) 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5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0-5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59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1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50-10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46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15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100-15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3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2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150-20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15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3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200-30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17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4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300-40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8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5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400-50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1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78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>
                          <a:effectLst/>
                        </a:rPr>
                        <a:t>60</a:t>
                      </a:r>
                      <a:endParaRPr lang="tr-TR" sz="16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500-600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600" dirty="0">
                          <a:effectLst/>
                        </a:rPr>
                        <a:t>1</a:t>
                      </a:r>
                      <a:endParaRPr lang="tr-TR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Dikdörtgen 7"/>
          <p:cNvSpPr/>
          <p:nvPr/>
        </p:nvSpPr>
        <p:spPr>
          <a:xfrm>
            <a:off x="3359696" y="4653136"/>
            <a:ext cx="70567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20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İnce İstemci Mimarisi ile Bant Genişliği Değişecek Bölgeler</a:t>
            </a:r>
          </a:p>
          <a:p>
            <a:pPr lvl="0" algn="just" fontAlgn="base">
              <a:spcBef>
                <a:spcPct val="0"/>
              </a:spcBef>
              <a:spcAft>
                <a:spcPts val="1200"/>
              </a:spcAft>
              <a:defRPr/>
            </a:pPr>
            <a:endParaRPr lang="tr-TR" sz="20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20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Yedekleme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544" y="1322209"/>
            <a:ext cx="7850011" cy="4483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59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Yönetim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543" y="1322208"/>
            <a:ext cx="7850011" cy="4483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38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 Sunum Planı</a:t>
            </a:r>
            <a:endParaRPr lang="de-DE" dirty="0"/>
          </a:p>
        </p:txBody>
      </p:sp>
      <p:grpSp>
        <p:nvGrpSpPr>
          <p:cNvPr id="23" name="Grup 22"/>
          <p:cNvGrpSpPr/>
          <p:nvPr/>
        </p:nvGrpSpPr>
        <p:grpSpPr>
          <a:xfrm>
            <a:off x="2326679" y="1433766"/>
            <a:ext cx="5457626" cy="729507"/>
            <a:chOff x="143933" y="1670051"/>
            <a:chExt cx="5245894" cy="729507"/>
          </a:xfrm>
        </p:grpSpPr>
        <p:sp>
          <p:nvSpPr>
            <p:cNvPr id="24" name="Rectangle 16"/>
            <p:cNvSpPr/>
            <p:nvPr/>
          </p:nvSpPr>
          <p:spPr>
            <a:xfrm>
              <a:off x="143933" y="1673205"/>
              <a:ext cx="5245894" cy="726353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innerShdw blurRad="63500">
                <a:prstClr val="black">
                  <a:alpha val="33000"/>
                </a:prstClr>
              </a:innerShdw>
            </a:effectLst>
          </p:spPr>
          <p:txBody>
            <a:bodyPr wrap="square" lIns="146304" tIns="146304" rIns="146304" bIns="146304">
              <a:spAutoFit/>
            </a:bodyPr>
            <a:lstStyle/>
            <a:p>
              <a:pPr marL="677316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sz="2800" b="1" kern="0" dirty="0" smtClean="0">
                  <a:solidFill>
                    <a:prstClr val="black"/>
                  </a:solidFill>
                </a:rPr>
                <a:t>İnce İstemci ve Sanallaştırma</a:t>
              </a:r>
              <a:endPara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" name="Group 7"/>
            <p:cNvGrpSpPr>
              <a:grpSpLocks/>
            </p:cNvGrpSpPr>
            <p:nvPr/>
          </p:nvGrpSpPr>
          <p:grpSpPr bwMode="auto">
            <a:xfrm>
              <a:off x="196851" y="1670051"/>
              <a:ext cx="573616" cy="576011"/>
              <a:chOff x="349648" y="2204865"/>
              <a:chExt cx="518790" cy="518788"/>
            </a:xfrm>
          </p:grpSpPr>
          <p:sp>
            <p:nvSpPr>
              <p:cNvPr id="26" name="Oval 25"/>
              <p:cNvSpPr/>
              <p:nvPr>
                <p:custDataLst>
                  <p:tags r:id="rId7"/>
                </p:custDataLst>
              </p:nvPr>
            </p:nvSpPr>
            <p:spPr>
              <a:xfrm>
                <a:off x="349648" y="2204865"/>
                <a:ext cx="518790" cy="518788"/>
              </a:xfrm>
              <a:prstGeom prst="ellipse">
                <a:avLst/>
              </a:prstGeom>
              <a:gradFill flip="none" rotWithShape="1">
                <a:gsLst>
                  <a:gs pos="79000">
                    <a:sysClr val="window" lastClr="FFFFFF">
                      <a:lumMod val="50000"/>
                    </a:sysClr>
                  </a:gs>
                  <a:gs pos="19000">
                    <a:sysClr val="window" lastClr="FFFFFF">
                      <a:lumMod val="80000"/>
                    </a:sysClr>
                  </a:gs>
                  <a:gs pos="47000">
                    <a:sysClr val="window" lastClr="FFFFFF">
                      <a:lumMod val="9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outerShdw blurRad="38100" dist="12700" dir="5400000" algn="t" rotWithShape="0">
                  <a:prstClr val="black">
                    <a:alpha val="25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7" name="Oval 26"/>
              <p:cNvSpPr/>
              <p:nvPr>
                <p:custDataLst>
                  <p:tags r:id="rId8"/>
                </p:custDataLst>
              </p:nvPr>
            </p:nvSpPr>
            <p:spPr>
              <a:xfrm>
                <a:off x="391262" y="2246478"/>
                <a:ext cx="435563" cy="435563"/>
              </a:xfrm>
              <a:prstGeom prst="ellipse">
                <a:avLst/>
              </a:prstGeom>
              <a:solidFill>
                <a:srgbClr val="0C5FA1"/>
              </a:solidFill>
              <a:ln w="158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99000">
                      <a:sysClr val="window" lastClr="FFFFFF">
                        <a:lumMod val="50000"/>
                      </a:sysClr>
                    </a:gs>
                  </a:gsLst>
                  <a:lin ang="16200000" scaled="1"/>
                  <a:tileRect/>
                </a:gradFill>
                <a:prstDash val="solid"/>
              </a:ln>
              <a:effectLst>
                <a:innerShdw blurRad="177800">
                  <a:prstClr val="black"/>
                </a:innerShdw>
              </a:effectLst>
            </p:spPr>
            <p:txBody>
              <a:bodyPr lIns="0" tIns="0" rIns="0" bIns="0" anchor="ctr"/>
              <a:lstStyle/>
              <a:p>
                <a:pPr marR="0" lvl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r>
                  <a:rPr kumimoji="0" lang="tr-TR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1</a:t>
                </a:r>
                <a:endPara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8" name="Grup 27"/>
          <p:cNvGrpSpPr/>
          <p:nvPr/>
        </p:nvGrpSpPr>
        <p:grpSpPr>
          <a:xfrm>
            <a:off x="2318561" y="2968826"/>
            <a:ext cx="7977906" cy="726353"/>
            <a:chOff x="2342873" y="3965489"/>
            <a:chExt cx="7977906" cy="726353"/>
          </a:xfrm>
        </p:grpSpPr>
        <p:sp>
          <p:nvSpPr>
            <p:cNvPr id="29" name="Rectangle 78"/>
            <p:cNvSpPr/>
            <p:nvPr/>
          </p:nvSpPr>
          <p:spPr>
            <a:xfrm>
              <a:off x="2342873" y="3965489"/>
              <a:ext cx="7977906" cy="726353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innerShdw blurRad="63500">
                <a:prstClr val="black">
                  <a:alpha val="33000"/>
                </a:prstClr>
              </a:innerShdw>
            </a:effectLst>
          </p:spPr>
          <p:txBody>
            <a:bodyPr wrap="square" lIns="146304" tIns="146304" rIns="146304" bIns="146304">
              <a:spAutoFit/>
            </a:bodyPr>
            <a:lstStyle/>
            <a:p>
              <a:pPr marL="677316" lv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r-TR" sz="2800" b="1" kern="0" dirty="0" smtClean="0">
                  <a:solidFill>
                    <a:prstClr val="black"/>
                  </a:solidFill>
                </a:rPr>
                <a:t>Haberleşme, Yedekleme ve </a:t>
              </a:r>
              <a:r>
                <a:rPr lang="tr-TR" sz="2800" b="1" kern="0" dirty="0">
                  <a:solidFill>
                    <a:prstClr val="black"/>
                  </a:solidFill>
                </a:rPr>
                <a:t>Yönetim Çözümleri</a:t>
              </a:r>
            </a:p>
          </p:txBody>
        </p:sp>
        <p:grpSp>
          <p:nvGrpSpPr>
            <p:cNvPr id="30" name="Group 9"/>
            <p:cNvGrpSpPr>
              <a:grpSpLocks/>
            </p:cNvGrpSpPr>
            <p:nvPr/>
          </p:nvGrpSpPr>
          <p:grpSpPr bwMode="auto">
            <a:xfrm>
              <a:off x="2419484" y="4041294"/>
              <a:ext cx="573616" cy="574111"/>
              <a:chOff x="349648" y="3563248"/>
              <a:chExt cx="518790" cy="518788"/>
            </a:xfrm>
          </p:grpSpPr>
          <p:sp>
            <p:nvSpPr>
              <p:cNvPr id="31" name="Oval 30"/>
              <p:cNvSpPr/>
              <p:nvPr>
                <p:custDataLst>
                  <p:tags r:id="rId5"/>
                </p:custDataLst>
              </p:nvPr>
            </p:nvSpPr>
            <p:spPr>
              <a:xfrm>
                <a:off x="349648" y="3563248"/>
                <a:ext cx="518790" cy="518788"/>
              </a:xfrm>
              <a:prstGeom prst="ellipse">
                <a:avLst/>
              </a:prstGeom>
              <a:gradFill flip="none" rotWithShape="1">
                <a:gsLst>
                  <a:gs pos="79000">
                    <a:sysClr val="window" lastClr="FFFFFF">
                      <a:lumMod val="50000"/>
                    </a:sysClr>
                  </a:gs>
                  <a:gs pos="19000">
                    <a:sysClr val="window" lastClr="FFFFFF">
                      <a:lumMod val="80000"/>
                    </a:sysClr>
                  </a:gs>
                  <a:gs pos="47000">
                    <a:sysClr val="window" lastClr="FFFFFF">
                      <a:lumMod val="9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outerShdw blurRad="38100" dist="12700" dir="5400000" algn="t" rotWithShape="0">
                  <a:prstClr val="black">
                    <a:alpha val="25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Oval 31"/>
              <p:cNvSpPr/>
              <p:nvPr>
                <p:custDataLst>
                  <p:tags r:id="rId6"/>
                </p:custDataLst>
              </p:nvPr>
            </p:nvSpPr>
            <p:spPr>
              <a:xfrm>
                <a:off x="391262" y="3604861"/>
                <a:ext cx="435563" cy="435563"/>
              </a:xfrm>
              <a:prstGeom prst="ellipse">
                <a:avLst/>
              </a:prstGeom>
              <a:solidFill>
                <a:srgbClr val="0C5FA1"/>
              </a:solidFill>
              <a:ln w="158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99000">
                      <a:sysClr val="window" lastClr="FFFFFF">
                        <a:lumMod val="50000"/>
                      </a:sysClr>
                    </a:gs>
                  </a:gsLst>
                  <a:lin ang="16200000" scaled="1"/>
                  <a:tileRect/>
                </a:gradFill>
                <a:prstDash val="solid"/>
              </a:ln>
              <a:effectLst>
                <a:innerShdw blurRad="177800">
                  <a:prstClr val="black"/>
                </a:inn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3</a:t>
                </a:r>
              </a:p>
            </p:txBody>
          </p:sp>
        </p:grpSp>
      </p:grpSp>
      <p:grpSp>
        <p:nvGrpSpPr>
          <p:cNvPr id="33" name="Grup 32"/>
          <p:cNvGrpSpPr/>
          <p:nvPr/>
        </p:nvGrpSpPr>
        <p:grpSpPr>
          <a:xfrm>
            <a:off x="2326679" y="2219447"/>
            <a:ext cx="9058026" cy="726353"/>
            <a:chOff x="2372302" y="2938898"/>
            <a:chExt cx="9058026" cy="726353"/>
          </a:xfrm>
        </p:grpSpPr>
        <p:sp>
          <p:nvSpPr>
            <p:cNvPr id="34" name="Rectangle 77"/>
            <p:cNvSpPr/>
            <p:nvPr/>
          </p:nvSpPr>
          <p:spPr>
            <a:xfrm>
              <a:off x="2372302" y="2938898"/>
              <a:ext cx="9058026" cy="726353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innerShdw blurRad="63500">
                <a:prstClr val="black">
                  <a:alpha val="33000"/>
                </a:prstClr>
              </a:innerShdw>
            </a:effectLst>
          </p:spPr>
          <p:txBody>
            <a:bodyPr wrap="square" lIns="146304" tIns="146304" rIns="146304" bIns="146304">
              <a:spAutoFit/>
            </a:bodyPr>
            <a:lstStyle/>
            <a:p>
              <a:pPr marL="677316" lv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r-TR" sz="2800" b="1" kern="0" dirty="0" smtClean="0">
                  <a:solidFill>
                    <a:prstClr val="black"/>
                  </a:solidFill>
                </a:rPr>
                <a:t>İnce İstemci Avantaj ve Dezavantajları</a:t>
              </a:r>
              <a:endPara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35" name="Group 9"/>
            <p:cNvGrpSpPr>
              <a:grpSpLocks/>
            </p:cNvGrpSpPr>
            <p:nvPr/>
          </p:nvGrpSpPr>
          <p:grpSpPr bwMode="auto">
            <a:xfrm>
              <a:off x="2430067" y="2968145"/>
              <a:ext cx="571500" cy="574111"/>
              <a:chOff x="349648" y="3563248"/>
              <a:chExt cx="518790" cy="518788"/>
            </a:xfrm>
          </p:grpSpPr>
          <p:sp>
            <p:nvSpPr>
              <p:cNvPr id="36" name="Oval 35"/>
              <p:cNvSpPr/>
              <p:nvPr>
                <p:custDataLst>
                  <p:tags r:id="rId3"/>
                </p:custDataLst>
              </p:nvPr>
            </p:nvSpPr>
            <p:spPr>
              <a:xfrm>
                <a:off x="349648" y="3563248"/>
                <a:ext cx="518790" cy="518788"/>
              </a:xfrm>
              <a:prstGeom prst="ellipse">
                <a:avLst/>
              </a:prstGeom>
              <a:gradFill flip="none" rotWithShape="1">
                <a:gsLst>
                  <a:gs pos="79000">
                    <a:sysClr val="window" lastClr="FFFFFF">
                      <a:lumMod val="50000"/>
                    </a:sysClr>
                  </a:gs>
                  <a:gs pos="19000">
                    <a:sysClr val="window" lastClr="FFFFFF">
                      <a:lumMod val="80000"/>
                    </a:sysClr>
                  </a:gs>
                  <a:gs pos="47000">
                    <a:sysClr val="window" lastClr="FFFFFF">
                      <a:lumMod val="9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outerShdw blurRad="38100" dist="12700" dir="5400000" algn="t" rotWithShape="0">
                  <a:prstClr val="black">
                    <a:alpha val="25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7" name="Oval 36"/>
              <p:cNvSpPr/>
              <p:nvPr>
                <p:custDataLst>
                  <p:tags r:id="rId4"/>
                </p:custDataLst>
              </p:nvPr>
            </p:nvSpPr>
            <p:spPr>
              <a:xfrm>
                <a:off x="391262" y="3604861"/>
                <a:ext cx="435563" cy="435563"/>
              </a:xfrm>
              <a:prstGeom prst="ellipse">
                <a:avLst/>
              </a:prstGeom>
              <a:solidFill>
                <a:srgbClr val="0C5FA1"/>
              </a:solidFill>
              <a:ln w="158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99000">
                      <a:sysClr val="window" lastClr="FFFFFF">
                        <a:lumMod val="50000"/>
                      </a:sysClr>
                    </a:gs>
                  </a:gsLst>
                  <a:lin ang="16200000" scaled="1"/>
                  <a:tileRect/>
                </a:gradFill>
                <a:prstDash val="solid"/>
              </a:ln>
              <a:effectLst>
                <a:innerShdw blurRad="177800">
                  <a:prstClr val="black"/>
                </a:inn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2</a:t>
                </a:r>
                <a:endPara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8" name="Grup 37"/>
          <p:cNvGrpSpPr/>
          <p:nvPr/>
        </p:nvGrpSpPr>
        <p:grpSpPr>
          <a:xfrm>
            <a:off x="2318561" y="3741230"/>
            <a:ext cx="7977906" cy="726353"/>
            <a:chOff x="2330752" y="3946486"/>
            <a:chExt cx="7977906" cy="726353"/>
          </a:xfrm>
        </p:grpSpPr>
        <p:sp>
          <p:nvSpPr>
            <p:cNvPr id="39" name="Rectangle 78"/>
            <p:cNvSpPr/>
            <p:nvPr/>
          </p:nvSpPr>
          <p:spPr>
            <a:xfrm>
              <a:off x="2330752" y="3946486"/>
              <a:ext cx="7977906" cy="726353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innerShdw blurRad="63500">
                <a:prstClr val="black">
                  <a:alpha val="33000"/>
                </a:prstClr>
              </a:innerShdw>
            </a:effectLst>
          </p:spPr>
          <p:txBody>
            <a:bodyPr wrap="square" lIns="146304" tIns="146304" rIns="146304" bIns="146304">
              <a:spAutoFit/>
            </a:bodyPr>
            <a:lstStyle/>
            <a:p>
              <a:pPr marL="677316" lv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r-TR" sz="2800" b="1" kern="0" dirty="0" smtClean="0">
                  <a:solidFill>
                    <a:prstClr val="black"/>
                  </a:solidFill>
                </a:rPr>
                <a:t>Sonuç ve Öneriler</a:t>
              </a:r>
              <a:endParaRPr lang="tr-TR" sz="2800" b="1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43" name="Group 9"/>
            <p:cNvGrpSpPr>
              <a:grpSpLocks/>
            </p:cNvGrpSpPr>
            <p:nvPr/>
          </p:nvGrpSpPr>
          <p:grpSpPr bwMode="auto">
            <a:xfrm>
              <a:off x="2419484" y="4041294"/>
              <a:ext cx="573616" cy="574111"/>
              <a:chOff x="349648" y="3563248"/>
              <a:chExt cx="518790" cy="518788"/>
            </a:xfrm>
          </p:grpSpPr>
          <p:sp>
            <p:nvSpPr>
              <p:cNvPr id="44" name="Oval 43"/>
              <p:cNvSpPr/>
              <p:nvPr>
                <p:custDataLst>
                  <p:tags r:id="rId1"/>
                </p:custDataLst>
              </p:nvPr>
            </p:nvSpPr>
            <p:spPr>
              <a:xfrm>
                <a:off x="349648" y="3563248"/>
                <a:ext cx="518790" cy="518788"/>
              </a:xfrm>
              <a:prstGeom prst="ellipse">
                <a:avLst/>
              </a:prstGeom>
              <a:gradFill flip="none" rotWithShape="1">
                <a:gsLst>
                  <a:gs pos="79000">
                    <a:sysClr val="window" lastClr="FFFFFF">
                      <a:lumMod val="50000"/>
                    </a:sysClr>
                  </a:gs>
                  <a:gs pos="19000">
                    <a:sysClr val="window" lastClr="FFFFFF">
                      <a:lumMod val="80000"/>
                    </a:sysClr>
                  </a:gs>
                  <a:gs pos="47000">
                    <a:sysClr val="window" lastClr="FFFFFF">
                      <a:lumMod val="9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outerShdw blurRad="38100" dist="12700" dir="5400000" algn="t" rotWithShape="0">
                  <a:prstClr val="black">
                    <a:alpha val="25000"/>
                  </a:prstClr>
                </a:outerShdw>
              </a:effectLst>
            </p:spPr>
            <p:txBody>
              <a:bodyPr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5" name="Oval 44"/>
              <p:cNvSpPr/>
              <p:nvPr>
                <p:custDataLst>
                  <p:tags r:id="rId2"/>
                </p:custDataLst>
              </p:nvPr>
            </p:nvSpPr>
            <p:spPr>
              <a:xfrm>
                <a:off x="391262" y="3604861"/>
                <a:ext cx="435563" cy="435563"/>
              </a:xfrm>
              <a:prstGeom prst="ellipse">
                <a:avLst/>
              </a:prstGeom>
              <a:solidFill>
                <a:srgbClr val="0C5FA1"/>
              </a:solidFill>
              <a:ln w="158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99000">
                      <a:sysClr val="window" lastClr="FFFFFF">
                        <a:lumMod val="50000"/>
                      </a:sysClr>
                    </a:gs>
                  </a:gsLst>
                  <a:lin ang="16200000" scaled="1"/>
                  <a:tileRect/>
                </a:gradFill>
                <a:prstDash val="solid"/>
              </a:ln>
              <a:effectLst>
                <a:innerShdw blurRad="177800">
                  <a:prstClr val="black"/>
                </a:inn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tr-TR" sz="2800" b="1" kern="0" dirty="0">
                    <a:solidFill>
                      <a:schemeClr val="tx2"/>
                    </a:solidFill>
                  </a:rPr>
                  <a:t>4</a:t>
                </a:r>
                <a:endPara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249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tr-TR" dirty="0" smtClean="0"/>
              <a:t>Sonuç ve Öneriler</a:t>
            </a: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793424" y="1340768"/>
            <a:ext cx="101397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Taşra birimlerinde yaşanan onlarca sorunun ortadan kalkması için ince istemci mimarisine geçilmesi,</a:t>
            </a:r>
          </a:p>
        </p:txBody>
      </p:sp>
      <p:sp>
        <p:nvSpPr>
          <p:cNvPr id="2" name="Dikdörtgen 1"/>
          <p:cNvSpPr/>
          <p:nvPr/>
        </p:nvSpPr>
        <p:spPr>
          <a:xfrm>
            <a:off x="793996" y="2330649"/>
            <a:ext cx="101612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Enerji verimliliğiyle; enerji maliyetlerinin ciddi miktarda düşürülmesi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,          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(%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88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 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daha verimli) </a:t>
            </a:r>
            <a:endParaRPr lang="tr-TR" sz="2400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77839" y="3320530"/>
            <a:ext cx="101397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Tasarlanmış </a:t>
            </a:r>
            <a:r>
              <a:rPr lang="tr-TR" sz="2400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mimari sayesinde; güçlü sunucularla birçok işlemin aynı anda kolayca çalışması sonucu sistemin yavaşlama sorununun çözülmesi</a:t>
            </a: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,             (%85 hız artışı)</a:t>
            </a:r>
            <a:endParaRPr lang="tr-TR" sz="2400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784490" y="4679743"/>
            <a:ext cx="101397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tr-TR" sz="2400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Başarılı, dinamik, </a:t>
            </a:r>
            <a:r>
              <a:rPr lang="tr-TR" sz="2400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güvenli ve hızlı çalışan bir ince istemci mimarisiyle Kurum’un donatılması gereklidir.</a:t>
            </a:r>
            <a:endParaRPr lang="tr-TR" sz="2400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415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" grpId="0"/>
      <p:bldP spid="7" grpId="0"/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-177346" y="3804966"/>
            <a:ext cx="12192000" cy="821953"/>
          </a:xfrm>
        </p:spPr>
        <p:txBody>
          <a:bodyPr/>
          <a:lstStyle/>
          <a:p>
            <a:r>
              <a:rPr lang="tr-TR" dirty="0" smtClean="0"/>
              <a:t>Teşekkürler</a:t>
            </a:r>
            <a:endParaRPr lang="de-DE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-177346" y="4725144"/>
            <a:ext cx="12192000" cy="576064"/>
          </a:xfrm>
        </p:spPr>
        <p:txBody>
          <a:bodyPr>
            <a:noAutofit/>
          </a:bodyPr>
          <a:lstStyle/>
          <a:p>
            <a:r>
              <a:rPr lang="tr-TR" sz="3200" dirty="0" smtClean="0"/>
              <a:t>SORULAR?</a:t>
            </a:r>
            <a:endParaRPr lang="de-DE" sz="3200" dirty="0"/>
          </a:p>
        </p:txBody>
      </p:sp>
      <p:sp>
        <p:nvSpPr>
          <p:cNvPr id="4" name="Untertitel 8"/>
          <p:cNvSpPr txBox="1">
            <a:spLocks/>
          </p:cNvSpPr>
          <p:nvPr/>
        </p:nvSpPr>
        <p:spPr>
          <a:xfrm>
            <a:off x="1343472" y="6165552"/>
            <a:ext cx="9144000" cy="431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i="1" kern="1200">
                <a:solidFill>
                  <a:schemeClr val="accent2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tr-TR" b="1" i="0" smtClean="0">
                <a:solidFill>
                  <a:schemeClr val="accent2">
                    <a:lumMod val="40000"/>
                    <a:lumOff val="60000"/>
                  </a:schemeClr>
                </a:solidFill>
                <a:ea typeface="Adobe Ming Std L" panose="02020300000000000000" pitchFamily="18" charset="-128"/>
              </a:rPr>
              <a:t>ŞUBAT 2016</a:t>
            </a:r>
            <a:endParaRPr lang="de-DE" b="1" i="0" dirty="0">
              <a:solidFill>
                <a:schemeClr val="accent2">
                  <a:lumMod val="40000"/>
                  <a:lumOff val="60000"/>
                </a:schemeClr>
              </a:solidFill>
              <a:ea typeface="Adobe Ming Std L" panose="02020300000000000000" pitchFamily="18" charset="-128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  <p:sp>
        <p:nvSpPr>
          <p:cNvPr id="47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465164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SzPct val="150000"/>
              <a:defRPr/>
            </a:pPr>
            <a:r>
              <a:rPr lang="tr-TR" sz="2400" b="1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rPr>
              <a:t>Amaç</a:t>
            </a:r>
            <a:endParaRPr lang="tr-TR" sz="2400" b="1" spc="-150" dirty="0">
              <a:solidFill>
                <a:prstClr val="black">
                  <a:lumMod val="75000"/>
                  <a:lumOff val="25000"/>
                </a:prst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İnce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stemci mimarisinin büyük ölçekli kurum ve kuruluşlar bünyesinde konumlandırılması durumunda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SGK (Kurum)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sistem altyapısının karşılaşacağı durumların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değerlendirilmesi,</a:t>
            </a:r>
            <a:endParaRPr lang="tr-TR" sz="1800" b="1" dirty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8288" y="2510319"/>
            <a:ext cx="3060457" cy="1572904"/>
          </a:xfrm>
          <a:prstGeom prst="rect">
            <a:avLst/>
          </a:prstGeom>
        </p:spPr>
      </p:pic>
      <p:sp>
        <p:nvSpPr>
          <p:cNvPr id="5" name="Dikdörtgen 4"/>
          <p:cNvSpPr/>
          <p:nvPr/>
        </p:nvSpPr>
        <p:spPr>
          <a:xfrm>
            <a:off x="815412" y="4581128"/>
            <a:ext cx="82329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urum menfaatleri düşünüldüğünde izlenecek yolun ne olması gerektiğinin  ortaya konulmasıdır.</a:t>
            </a:r>
            <a:endParaRPr lang="tr-TR" sz="1600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6457" y="4690224"/>
            <a:ext cx="2592288" cy="11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2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Metin kutusu 1"/>
          <p:cNvSpPr txBox="1">
            <a:spLocks noChangeArrowheads="1"/>
          </p:cNvSpPr>
          <p:nvPr/>
        </p:nvSpPr>
        <p:spPr bwMode="auto">
          <a:xfrm>
            <a:off x="815413" y="2887670"/>
            <a:ext cx="50106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ts val="1200"/>
              </a:spcAft>
              <a:buSzPct val="150000"/>
              <a:buNone/>
              <a:defRPr/>
            </a:pPr>
            <a:endParaRPr lang="tr-TR" sz="1600" dirty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561173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SzPct val="150000"/>
              <a:defRPr/>
            </a:pPr>
            <a:r>
              <a:rPr lang="tr-TR" sz="2400" b="1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rPr>
              <a:t>Yöntem</a:t>
            </a:r>
            <a:endParaRPr lang="tr-TR" sz="2400" b="1" spc="-150" dirty="0">
              <a:solidFill>
                <a:prstClr val="black">
                  <a:lumMod val="75000"/>
                  <a:lumOff val="25000"/>
                </a:prst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Sunum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;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Kurum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personelinin ince </a:t>
            </a:r>
            <a:r>
              <a:rPr lang="tr-TR" sz="1800" b="1" dirty="0" err="1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stemcili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 sistemlere geçeceği nihai amacı göz önüne alınarak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hazırlanmıştır.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İnce İstemci Test ortamı oluşturulup sistem, ayrıntılı olarak gözlemlenmiştir.</a:t>
            </a:r>
            <a:endParaRPr lang="tr-TR" sz="1800" b="1" dirty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Hesaplamalar toplam 30.000 istemci için yapılmıştır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Günümüzde ince istemci (</a:t>
            </a:r>
            <a:r>
              <a:rPr lang="tr-TR" sz="1800" b="1" dirty="0" err="1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thin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 </a:t>
            </a:r>
            <a:r>
              <a:rPr lang="tr-TR" sz="1800" b="1" dirty="0" err="1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client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) teknolojisinin</a:t>
            </a:r>
            <a:endParaRPr lang="tr-TR" sz="1600" dirty="0" smtClean="0">
              <a:solidFill>
                <a:srgbClr val="1F497D">
                  <a:lumMod val="5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" name="Metin kutusu 1"/>
          <p:cNvSpPr txBox="1">
            <a:spLocks noChangeArrowheads="1"/>
          </p:cNvSpPr>
          <p:nvPr/>
        </p:nvSpPr>
        <p:spPr bwMode="auto">
          <a:xfrm>
            <a:off x="1199456" y="3786713"/>
            <a:ext cx="10561173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Konumu,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Hangi işlevleri yerine getirdiği,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Diğer teknolojilere göre artıları ve eksileri,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Maliyet/Performans  açısından değerlendirilmesi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Enerji verimliliği açısından detaylı çözümlemesi sunulacaktır.</a:t>
            </a:r>
            <a:endParaRPr lang="tr-TR" sz="1800" dirty="0" smtClean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</p:txBody>
      </p:sp>
      <p:grpSp>
        <p:nvGrpSpPr>
          <p:cNvPr id="13" name="Grup 12"/>
          <p:cNvGrpSpPr/>
          <p:nvPr/>
        </p:nvGrpSpPr>
        <p:grpSpPr>
          <a:xfrm>
            <a:off x="7224321" y="2854143"/>
            <a:ext cx="4152265" cy="3483372"/>
            <a:chOff x="3796988" y="1484784"/>
            <a:chExt cx="4152265" cy="3483372"/>
          </a:xfrm>
        </p:grpSpPr>
        <p:sp>
          <p:nvSpPr>
            <p:cNvPr id="14" name="Metin kutusu 13"/>
            <p:cNvSpPr txBox="1"/>
            <p:nvPr/>
          </p:nvSpPr>
          <p:spPr>
            <a:xfrm>
              <a:off x="4217041" y="1484784"/>
              <a:ext cx="33121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tr-TR" dirty="0">
                <a:solidFill>
                  <a:srgbClr val="FF0000"/>
                </a:solidFill>
              </a:endParaRPr>
            </a:p>
          </p:txBody>
        </p:sp>
        <p:pic>
          <p:nvPicPr>
            <p:cNvPr id="15" name="Resim 14" descr="C:\Users\mehmet\Desktop\tez sunum\cyber_hacking.jpg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6988" y="1854116"/>
              <a:ext cx="4152265" cy="3114040"/>
            </a:xfrm>
            <a:prstGeom prst="ellipse">
              <a:avLst/>
            </a:prstGeom>
            <a:ln>
              <a:noFill/>
            </a:ln>
            <a:effectLst>
              <a:softEdge rad="292100"/>
            </a:effectLst>
          </p:spPr>
        </p:pic>
      </p:grpSp>
      <p:sp>
        <p:nvSpPr>
          <p:cNvPr id="16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</p:spTree>
    <p:extLst>
      <p:ext uri="{BB962C8B-B14F-4D97-AF65-F5344CB8AC3E}">
        <p14:creationId xmlns:p14="http://schemas.microsoft.com/office/powerpoint/2010/main" val="4374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  <p:sp>
        <p:nvSpPr>
          <p:cNvPr id="4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56117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SzPct val="150000"/>
              <a:defRPr/>
            </a:pPr>
            <a:r>
              <a:rPr lang="tr-TR" sz="2400" b="1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rPr>
              <a:t>Sanallaştırma</a:t>
            </a:r>
            <a:endParaRPr lang="tr-TR" sz="2400" b="1" spc="-150" dirty="0">
              <a:solidFill>
                <a:prstClr val="black">
                  <a:lumMod val="75000"/>
                  <a:lumOff val="25000"/>
                </a:prst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Bilişim Teknolojileri (BT)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kaynaklarının iş taleplerini kolaylıkla karşılayabilmesi amacıyla yönetimi sadeleştirmek ve varlıkların verimli bir şekilde kullanımını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artırmak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çin BT kaynaklarını havuzlama ve paylaştırma yaklaşımıdır. </a:t>
            </a:r>
          </a:p>
        </p:txBody>
      </p:sp>
      <p:sp>
        <p:nvSpPr>
          <p:cNvPr id="2" name="Metin kutusu 1"/>
          <p:cNvSpPr txBox="1"/>
          <p:nvPr/>
        </p:nvSpPr>
        <p:spPr>
          <a:xfrm>
            <a:off x="8862565" y="5437448"/>
            <a:ext cx="1058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>
                <a:solidFill>
                  <a:schemeClr val="tx2"/>
                </a:solidFill>
              </a:rPr>
              <a:t>Donanım</a:t>
            </a:r>
            <a:endParaRPr lang="tr-TR" dirty="0">
              <a:solidFill>
                <a:schemeClr val="tx2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8563000" y="5149416"/>
            <a:ext cx="1573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>
                <a:solidFill>
                  <a:schemeClr val="tx2"/>
                </a:solidFill>
              </a:rPr>
              <a:t>İşletim Sistemi</a:t>
            </a:r>
            <a:endParaRPr lang="tr-TR" dirty="0">
              <a:solidFill>
                <a:schemeClr val="tx2"/>
              </a:solidFill>
            </a:endParaRPr>
          </a:p>
        </p:txBody>
      </p:sp>
      <p:pic>
        <p:nvPicPr>
          <p:cNvPr id="8" name="Resi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8125" y="3212976"/>
            <a:ext cx="4328535" cy="260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6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  <p:sp>
        <p:nvSpPr>
          <p:cNvPr id="4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561173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SzPct val="150000"/>
              <a:defRPr/>
            </a:pPr>
            <a:r>
              <a:rPr lang="tr-TR" sz="2400" b="1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rPr>
              <a:t>İnce İstemci</a:t>
            </a:r>
            <a:endParaRPr lang="tr-TR" sz="2400" b="1" spc="-150" dirty="0">
              <a:solidFill>
                <a:prstClr val="black">
                  <a:lumMod val="75000"/>
                  <a:lumOff val="25000"/>
                </a:prst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İnce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stemcinin işlevi; çevre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birimlerinden (klavye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, fare, okuyucular vs. )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gelen girdileri sunucu üzerinde çalışan programa iletmek ve o programdan gelen bilgilerin görüntü olarak ekrana yansıtılmasıdır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Fiziksel bilgisayarlar üzerinde çalışan tüm yazılımlar merkezi bir yerde konumlandırılarak, kullanıcının kullandığı bilgisayar ortamı merkezileştirilir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.</a:t>
            </a:r>
            <a:endParaRPr lang="tr-TR" sz="1800" dirty="0" smtClean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</p:txBody>
      </p:sp>
      <p:pic>
        <p:nvPicPr>
          <p:cNvPr id="5" name="Picture 6" descr="encapsulation_arch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4272" y="3669894"/>
            <a:ext cx="2592388" cy="214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8862565" y="5437448"/>
            <a:ext cx="1058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>
                <a:solidFill>
                  <a:schemeClr val="tx2"/>
                </a:solidFill>
              </a:rPr>
              <a:t>Donanım</a:t>
            </a:r>
            <a:endParaRPr lang="tr-TR" dirty="0">
              <a:solidFill>
                <a:schemeClr val="tx2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8563000" y="5149416"/>
            <a:ext cx="1573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>
                <a:solidFill>
                  <a:schemeClr val="tx2"/>
                </a:solidFill>
              </a:rPr>
              <a:t>İşletim Sistemi</a:t>
            </a:r>
            <a:endParaRPr lang="tr-T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04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Ellipse 59"/>
          <p:cNvSpPr/>
          <p:nvPr/>
        </p:nvSpPr>
        <p:spPr bwMode="auto">
          <a:xfrm>
            <a:off x="5824041" y="5601483"/>
            <a:ext cx="4146298" cy="838200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a-DK" altLang="tr-TR" sz="180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  <p:sp>
        <p:nvSpPr>
          <p:cNvPr id="26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561173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İnce İstemci mimarisi, masaüstü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ortamını fiziksel makineden ayıran bir teknolojidir.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Kullanıcı;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istediği her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yerden,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herhangi bir bilgisayar ortamını kullanarak (kişisel bilgisayar, laptop, akıllı telefon, ince istemci gibi) tüm bu merkezileştirilmiş programları kullanabilir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Aynı zamanda yönetimsel olarak merkezi yapı ile daha yönetilebilir hale gelir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.</a:t>
            </a:r>
            <a:endParaRPr lang="tr-TR" sz="1800" dirty="0" smtClean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4312" y="2132856"/>
            <a:ext cx="2472274" cy="469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2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ve Sanallaştırma</a:t>
            </a:r>
          </a:p>
        </p:txBody>
      </p:sp>
      <p:sp>
        <p:nvSpPr>
          <p:cNvPr id="26" name="Metin kutusu 1"/>
          <p:cNvSpPr txBox="1">
            <a:spLocks noChangeArrowheads="1"/>
          </p:cNvSpPr>
          <p:nvPr/>
        </p:nvSpPr>
        <p:spPr bwMode="auto">
          <a:xfrm>
            <a:off x="815413" y="1340768"/>
            <a:ext cx="1056117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Bu 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mimari </a:t>
            </a:r>
            <a:r>
              <a:rPr lang="tr-TR" sz="1800" b="1" dirty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sayesinde bütün makinelerimiz büyük bir ağda birleşir ve bir çok sunucudan çeşitli hizmetler alıp sunucular üzerinden, herhangi bir aksama olmadan çalışır</a:t>
            </a:r>
            <a:r>
              <a:rPr lang="tr-TR" sz="1800" b="1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Segoe UI Semilight" panose="020B0402040204020203" pitchFamily="34" charset="0"/>
              </a:rPr>
              <a:t>.</a:t>
            </a:r>
            <a:endParaRPr lang="tr-TR" sz="1800" dirty="0" smtClean="0">
              <a:solidFill>
                <a:srgbClr val="1F497D">
                  <a:lumMod val="50000"/>
                </a:srgbClr>
              </a:solidFill>
              <a:latin typeface="+mn-lt"/>
              <a:cs typeface="Segoe UI Semilight" panose="020B0402040204020203" pitchFamily="34" charset="0"/>
            </a:endParaRPr>
          </a:p>
        </p:txBody>
      </p:sp>
      <p:pic>
        <p:nvPicPr>
          <p:cNvPr id="7" name="Resim 6" descr="Capturefsafsa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106" y="2053082"/>
            <a:ext cx="5110480" cy="35909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245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tr-TR" dirty="0" smtClean="0"/>
              <a:t>İnce </a:t>
            </a:r>
            <a:r>
              <a:rPr lang="tr-TR" dirty="0"/>
              <a:t>İstemci </a:t>
            </a:r>
            <a:r>
              <a:rPr lang="tr-TR" dirty="0" smtClean="0"/>
              <a:t>Avantajları</a:t>
            </a:r>
            <a:r>
              <a:rPr lang="tr-TR" dirty="0"/>
              <a:t/>
            </a:r>
            <a:br>
              <a:rPr lang="tr-TR" dirty="0"/>
            </a:br>
            <a:endParaRPr lang="tr-TR" dirty="0"/>
          </a:p>
        </p:txBody>
      </p:sp>
      <p:sp>
        <p:nvSpPr>
          <p:cNvPr id="43" name="Rounded Rectangle 65"/>
          <p:cNvSpPr/>
          <p:nvPr/>
        </p:nvSpPr>
        <p:spPr bwMode="auto">
          <a:xfrm>
            <a:off x="8701591" y="3370919"/>
            <a:ext cx="3144838" cy="2319338"/>
          </a:xfrm>
          <a:prstGeom prst="roundRect">
            <a:avLst>
              <a:gd name="adj" fmla="val 6364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 w="5715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endParaRPr lang="en-US" sz="1050" dirty="0">
              <a:latin typeface="Arial" charset="0"/>
              <a:cs typeface="Arial" charset="0"/>
            </a:endParaRPr>
          </a:p>
        </p:txBody>
      </p:sp>
      <p:sp>
        <p:nvSpPr>
          <p:cNvPr id="44" name="Rounded Rectangle 29"/>
          <p:cNvSpPr/>
          <p:nvPr/>
        </p:nvSpPr>
        <p:spPr bwMode="auto">
          <a:xfrm>
            <a:off x="8701591" y="1346857"/>
            <a:ext cx="3144838" cy="1898650"/>
          </a:xfrm>
          <a:prstGeom prst="roundRect">
            <a:avLst>
              <a:gd name="adj" fmla="val 6364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 w="5715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endParaRPr lang="en-US" sz="1050" dirty="0">
              <a:latin typeface="Arial" charset="0"/>
              <a:cs typeface="Arial" charset="0"/>
            </a:endParaRPr>
          </a:p>
        </p:txBody>
      </p:sp>
      <p:grpSp>
        <p:nvGrpSpPr>
          <p:cNvPr id="45" name="Group 30"/>
          <p:cNvGrpSpPr>
            <a:grpSpLocks/>
          </p:cNvGrpSpPr>
          <p:nvPr/>
        </p:nvGrpSpPr>
        <p:grpSpPr bwMode="auto">
          <a:xfrm>
            <a:off x="8814303" y="3447119"/>
            <a:ext cx="3011488" cy="808038"/>
            <a:chOff x="5315937" y="2443451"/>
            <a:chExt cx="3011559" cy="807825"/>
          </a:xfrm>
        </p:grpSpPr>
        <p:sp>
          <p:nvSpPr>
            <p:cNvPr id="46" name="Rounded Rectangle 66"/>
            <p:cNvSpPr/>
            <p:nvPr/>
          </p:nvSpPr>
          <p:spPr bwMode="auto">
            <a:xfrm>
              <a:off x="5315937" y="2443451"/>
              <a:ext cx="2898843" cy="807825"/>
            </a:xfrm>
            <a:prstGeom prst="roundRect">
              <a:avLst>
                <a:gd name="adj" fmla="val 12920"/>
              </a:avLst>
            </a:prstGeom>
            <a:solidFill>
              <a:schemeClr val="accent1"/>
            </a:solidFill>
            <a:ln w="28575" algn="ctr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anchor="b"/>
            <a:lstStyle/>
            <a:p>
              <a:pPr algn="r">
                <a:defRPr/>
              </a:pPr>
              <a:endParaRPr lang="en-US" sz="800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TextBox 54"/>
            <p:cNvSpPr txBox="1">
              <a:spLocks noChangeArrowheads="1"/>
            </p:cNvSpPr>
            <p:nvPr/>
          </p:nvSpPr>
          <p:spPr bwMode="auto">
            <a:xfrm>
              <a:off x="5679014" y="2616531"/>
              <a:ext cx="264848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tr-TR" sz="2400" dirty="0" smtClean="0">
                  <a:solidFill>
                    <a:schemeClr val="bg1"/>
                  </a:solidFill>
                </a:rPr>
                <a:t>İşletim Sistemi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 31"/>
          <p:cNvGrpSpPr>
            <a:grpSpLocks/>
          </p:cNvGrpSpPr>
          <p:nvPr/>
        </p:nvGrpSpPr>
        <p:grpSpPr bwMode="auto">
          <a:xfrm>
            <a:off x="8811977" y="1575271"/>
            <a:ext cx="2898775" cy="806450"/>
            <a:chOff x="5315937" y="1494478"/>
            <a:chExt cx="2898843" cy="807825"/>
          </a:xfrm>
        </p:grpSpPr>
        <p:sp>
          <p:nvSpPr>
            <p:cNvPr id="50" name="Rounded Rectangle 19"/>
            <p:cNvSpPr/>
            <p:nvPr/>
          </p:nvSpPr>
          <p:spPr bwMode="auto">
            <a:xfrm>
              <a:off x="5315937" y="1494478"/>
              <a:ext cx="2898843" cy="807825"/>
            </a:xfrm>
            <a:prstGeom prst="roundRect">
              <a:avLst>
                <a:gd name="adj" fmla="val 12920"/>
              </a:avLst>
            </a:prstGeom>
            <a:solidFill>
              <a:srgbClr val="FF640A"/>
            </a:solidFill>
            <a:ln w="28575" algn="ctr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anchor="b"/>
            <a:lstStyle/>
            <a:p>
              <a:pPr algn="r">
                <a:defRPr/>
              </a:pPr>
              <a:endParaRPr lang="en-US" sz="8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TextBox 53"/>
            <p:cNvSpPr txBox="1">
              <a:spLocks noChangeArrowheads="1"/>
            </p:cNvSpPr>
            <p:nvPr/>
          </p:nvSpPr>
          <p:spPr bwMode="auto">
            <a:xfrm>
              <a:off x="5660680" y="1620229"/>
              <a:ext cx="220509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r-TR" sz="2400" dirty="0" smtClean="0">
                  <a:solidFill>
                    <a:schemeClr val="bg1"/>
                  </a:solidFill>
                </a:rPr>
                <a:t>Uygulama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52" name="Picture 38" descr="Computer-smal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00154" y="4328182"/>
            <a:ext cx="725487" cy="1312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3" name="Group 27"/>
          <p:cNvGrpSpPr/>
          <p:nvPr/>
        </p:nvGrpSpPr>
        <p:grpSpPr>
          <a:xfrm>
            <a:off x="8793665" y="3449348"/>
            <a:ext cx="2898843" cy="807824"/>
            <a:chOff x="8740775" y="3470259"/>
            <a:chExt cx="2898843" cy="87314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4" name="Rounded Rectangle 25"/>
            <p:cNvSpPr/>
            <p:nvPr/>
          </p:nvSpPr>
          <p:spPr bwMode="auto">
            <a:xfrm>
              <a:off x="8740775" y="3470259"/>
              <a:ext cx="2898843" cy="873141"/>
            </a:xfrm>
            <a:prstGeom prst="roundRect">
              <a:avLst>
                <a:gd name="adj" fmla="val 12920"/>
              </a:avLst>
            </a:prstGeom>
            <a:gradFill>
              <a:gsLst>
                <a:gs pos="0">
                  <a:schemeClr val="accent5">
                    <a:lumMod val="50000"/>
                  </a:schemeClr>
                </a:gs>
                <a:gs pos="50000">
                  <a:schemeClr val="accent5">
                    <a:lumMod val="75000"/>
                  </a:schemeClr>
                </a:gs>
                <a:gs pos="100000">
                  <a:schemeClr val="accent5">
                    <a:lumMod val="50000"/>
                  </a:schemeClr>
                </a:gs>
              </a:gsLst>
              <a:lin ang="5400000" scaled="0"/>
            </a:gradFill>
            <a:ln w="28575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anchor="b"/>
            <a:lstStyle/>
            <a:p>
              <a:pPr algn="r">
                <a:defRPr/>
              </a:pPr>
              <a:endParaRPr lang="en-US" sz="8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55" name="TextBox 26"/>
            <p:cNvSpPr txBox="1"/>
            <p:nvPr/>
          </p:nvSpPr>
          <p:spPr>
            <a:xfrm>
              <a:off x="9431129" y="3657108"/>
              <a:ext cx="1550424" cy="43246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tr-TR" sz="2000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İnce İstemci</a:t>
              </a:r>
              <a:endParaRPr lang="en-US" sz="2000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</p:grpSp>
      <p:pic>
        <p:nvPicPr>
          <p:cNvPr id="56" name="Picture 24" descr="OS-App Icon xp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817670" y="1484784"/>
            <a:ext cx="915988" cy="170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23" descr="OS-App Icon V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165208" y="1484784"/>
            <a:ext cx="914400" cy="170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28" descr="OS-App Icon xp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11158" y="1484784"/>
            <a:ext cx="915987" cy="170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32" descr="OS-App Icon V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57108" y="1484784"/>
            <a:ext cx="915987" cy="170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38" descr="Computer-smal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09766" y="4320244"/>
            <a:ext cx="7239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38" descr="Computer-smal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98479" y="4320244"/>
            <a:ext cx="7239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Dikdörtgen 30"/>
          <p:cNvSpPr/>
          <p:nvPr/>
        </p:nvSpPr>
        <p:spPr>
          <a:xfrm>
            <a:off x="551384" y="908720"/>
            <a:ext cx="10441160" cy="367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7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7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Merkezileştirilmiş yapı sayesinde yönetim </a:t>
            </a: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olaylığı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700" b="1" dirty="0" smtClean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Veriler </a:t>
            </a:r>
            <a:r>
              <a:rPr lang="tr-TR" sz="17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tek noktada olduğundan yedekleme </a:t>
            </a: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olaylığı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7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Az </a:t>
            </a:r>
            <a:r>
              <a:rPr lang="tr-TR" sz="17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enerji tüketimi </a:t>
            </a:r>
            <a:endParaRPr lang="tr-TR" sz="1700" b="1" dirty="0" smtClean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(</a:t>
            </a:r>
            <a:r>
              <a:rPr lang="tr-TR" sz="1700" b="1" dirty="0" err="1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pc</a:t>
            </a: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: 350w/h &amp; ii: 40 w/h)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tr-TR" sz="1700" b="1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Sunucudaki </a:t>
            </a:r>
            <a:r>
              <a:rPr lang="tr-TR" sz="1700" b="1" dirty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kaynaklar gerçek anlamda, gerekli ve yeterli ölçüde kolaylıkla kullanılabilir</a:t>
            </a:r>
            <a:r>
              <a:rPr lang="tr-TR" sz="1700" b="1" dirty="0" smtClean="0">
                <a:solidFill>
                  <a:srgbClr val="1F497D">
                    <a:lumMod val="50000"/>
                  </a:srgbClr>
                </a:solidFill>
                <a:cs typeface="Segoe UI Semilight" panose="020B0402040204020203" pitchFamily="34" charset="0"/>
              </a:rPr>
              <a:t>.</a:t>
            </a:r>
            <a:endParaRPr lang="tr-TR" sz="1700" dirty="0">
              <a:solidFill>
                <a:srgbClr val="1F497D">
                  <a:lumMod val="50000"/>
                </a:srgbClr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8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2.59259E-6 L -4.16667E-6 -0.15486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75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53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53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3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7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9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LightsOn">
  <a:themeElements>
    <a:clrScheme name="Blue_Moving_Lights">
      <a:dk1>
        <a:srgbClr val="3C3C3C"/>
      </a:dk1>
      <a:lt1>
        <a:srgbClr val="64645A"/>
      </a:lt1>
      <a:dk2>
        <a:srgbClr val="FFFFF0"/>
      </a:dk2>
      <a:lt2>
        <a:srgbClr val="D2D2BE"/>
      </a:lt2>
      <a:accent1>
        <a:srgbClr val="0F4D78"/>
      </a:accent1>
      <a:accent2>
        <a:srgbClr val="82BEE6"/>
      </a:accent2>
      <a:accent3>
        <a:srgbClr val="647300"/>
      </a:accent3>
      <a:accent4>
        <a:srgbClr val="AF8700"/>
      </a:accent4>
      <a:accent5>
        <a:srgbClr val="B4DCF5"/>
      </a:accent5>
      <a:accent6>
        <a:srgbClr val="006464"/>
      </a:accent6>
      <a:hlink>
        <a:srgbClr val="FFA000"/>
      </a:hlink>
      <a:folHlink>
        <a:srgbClr val="006E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24</TotalTime>
  <Words>979</Words>
  <Application>Microsoft Office PowerPoint</Application>
  <PresentationFormat>Geniş ekran</PresentationFormat>
  <Paragraphs>164</Paragraphs>
  <Slides>21</Slides>
  <Notes>21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8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21</vt:i4>
      </vt:variant>
    </vt:vector>
  </HeadingPairs>
  <TitlesOfParts>
    <vt:vector size="30" baseType="lpstr">
      <vt:lpstr>ＭＳ Ｐゴシック</vt:lpstr>
      <vt:lpstr>Adobe Ming Std L</vt:lpstr>
      <vt:lpstr>Arial</vt:lpstr>
      <vt:lpstr>Calibri</vt:lpstr>
      <vt:lpstr>Courier New</vt:lpstr>
      <vt:lpstr>Segoe UI Semilight</vt:lpstr>
      <vt:lpstr>Times New Roman</vt:lpstr>
      <vt:lpstr>Wingdings</vt:lpstr>
      <vt:lpstr>LightsOn</vt:lpstr>
      <vt:lpstr>Kurumsal Ağlarda Uzak ve Merkezi İşlem Birimlerinin Sanallaştırılması: Bir Uygulama      </vt:lpstr>
      <vt:lpstr> Sunum Planı</vt:lpstr>
      <vt:lpstr>İnce İstemci ve Sanallaştırma</vt:lpstr>
      <vt:lpstr>İnce İstemci ve Sanallaştırma</vt:lpstr>
      <vt:lpstr>İnce İstemci ve Sanallaştırma</vt:lpstr>
      <vt:lpstr>İnce İstemci ve Sanallaştırma</vt:lpstr>
      <vt:lpstr>İnce İstemci ve Sanallaştırma</vt:lpstr>
      <vt:lpstr>İnce İstemci ve Sanallaştırma</vt:lpstr>
      <vt:lpstr>İnce İstemci Avantajları </vt:lpstr>
      <vt:lpstr>İnce İstemci Avantajları </vt:lpstr>
      <vt:lpstr>İnce İstemci Dezavantajları </vt:lpstr>
      <vt:lpstr>Örnek Uygulama Ortamı </vt:lpstr>
      <vt:lpstr>Örnek Uygulama Ortamı </vt:lpstr>
      <vt:lpstr>Örnek Uygulama Ortamı </vt:lpstr>
      <vt:lpstr>Örnek Uygulama Ortamı </vt:lpstr>
      <vt:lpstr>Örnek Uygulama Ortamı </vt:lpstr>
      <vt:lpstr>Haberleşme </vt:lpstr>
      <vt:lpstr>Yedekleme </vt:lpstr>
      <vt:lpstr>Yönetim </vt:lpstr>
      <vt:lpstr>Sonuç ve Öneriler</vt:lpstr>
      <vt:lpstr>Teşekkürle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booboo</dc:creator>
  <cp:lastModifiedBy>EMRAH COLAK</cp:lastModifiedBy>
  <cp:revision>545</cp:revision>
  <cp:lastPrinted>2015-03-15T18:45:27Z</cp:lastPrinted>
  <dcterms:created xsi:type="dcterms:W3CDTF">2011-04-28T14:24:50Z</dcterms:created>
  <dcterms:modified xsi:type="dcterms:W3CDTF">2016-02-05T12:26:54Z</dcterms:modified>
</cp:coreProperties>
</file>